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sldIdLst>
    <p:sldId id="276" r:id="rId2"/>
    <p:sldId id="277" r:id="rId3"/>
    <p:sldId id="287" r:id="rId4"/>
    <p:sldId id="288" r:id="rId5"/>
    <p:sldId id="289" r:id="rId6"/>
    <p:sldId id="290" r:id="rId7"/>
    <p:sldId id="291" r:id="rId8"/>
    <p:sldId id="292" r:id="rId9"/>
    <p:sldId id="293" r:id="rId10"/>
    <p:sldId id="294" r:id="rId11"/>
    <p:sldId id="295" r:id="rId12"/>
    <p:sldId id="310" r:id="rId13"/>
    <p:sldId id="312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5" r:id="rId26"/>
    <p:sldId id="316" r:id="rId27"/>
    <p:sldId id="285" r:id="rId28"/>
  </p:sldIdLst>
  <p:sldSz cx="9144000" cy="5715000" type="screen16x1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Помірний стиль 2 –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із теми 1 –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AF606853-7671-496A-8E4F-DF71F8EC918B}" styleName="Темний стиль 1 –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73" autoAdjust="0"/>
    <p:restoredTop sz="94660"/>
  </p:normalViewPr>
  <p:slideViewPr>
    <p:cSldViewPr>
      <p:cViewPr varScale="1">
        <p:scale>
          <a:sx n="87" d="100"/>
          <a:sy n="87" d="100"/>
        </p:scale>
        <p:origin x="822" y="60"/>
      </p:cViewPr>
      <p:guideLst>
        <p:guide orient="horz" pos="180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8096BE-559C-415C-9BE0-FA4754DBD1C0}" type="datetimeFigureOut">
              <a:rPr lang="uk-UA" smtClean="0"/>
              <a:pPr/>
              <a:t>29.11.2018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60060-C1A6-4B8F-A7BD-C152A95351B8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83126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25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44500" y="746125"/>
            <a:ext cx="59690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25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2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02268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26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44500" y="746125"/>
            <a:ext cx="59690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26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2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71643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1203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337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424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1177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466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52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073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3191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5891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5348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932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625656-DE55-4FA0-ABCB-98F00BFBC353}" type="datetimeFigureOut">
              <a:rPr lang="ru-RU" smtClean="0"/>
              <a:pPr/>
              <a:t>29.11.2018</a:t>
            </a:fld>
            <a:endParaRPr lang="ru-RU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8F486-7C5A-4FA0-AD68-62523698EEB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470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.jpeg"/><Relationship Id="rId4" Type="http://schemas.openxmlformats.org/officeDocument/2006/relationships/tags" Target="../tags/tag4.xml"/><Relationship Id="rId9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.xml"/><Relationship Id="rId9" Type="http://schemas.openxmlformats.org/officeDocument/2006/relationships/image" Target="../media/image1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90" y="0"/>
            <a:ext cx="9146790" cy="6097860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>
            <p:custDataLst>
              <p:tags r:id="rId1"/>
            </p:custDataLst>
          </p:nvPr>
        </p:nvSpPr>
        <p:spPr bwMode="auto">
          <a:xfrm>
            <a:off x="1547664" y="3505572"/>
            <a:ext cx="7488832" cy="2304256"/>
          </a:xfrm>
          <a:prstGeom prst="roundRect">
            <a:avLst/>
          </a:prstGeom>
          <a:gradFill flip="none" rotWithShape="1">
            <a:gsLst>
              <a:gs pos="10000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0">
                <a:schemeClr val="accent6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uk-UA" sz="2700" b="1" dirty="0" smtClean="0">
                <a:solidFill>
                  <a:schemeClr val="bg1"/>
                </a:solidFill>
              </a:rPr>
              <a:t>КОМПЕТЕНТНІСНО-</a:t>
            </a:r>
            <a:r>
              <a:rPr lang="uk-UA" sz="2700" b="1" dirty="0">
                <a:solidFill>
                  <a:schemeClr val="bg1"/>
                </a:solidFill>
              </a:rPr>
              <a:t>З</a:t>
            </a:r>
            <a:r>
              <a:rPr lang="uk-UA" sz="2700" b="1" dirty="0" smtClean="0">
                <a:solidFill>
                  <a:schemeClr val="bg1"/>
                </a:solidFill>
              </a:rPr>
              <a:t>ОРІЄНТОВАНІ </a:t>
            </a:r>
            <a:r>
              <a:rPr lang="uk-UA" sz="2700" b="1" dirty="0">
                <a:solidFill>
                  <a:schemeClr val="bg1"/>
                </a:solidFill>
              </a:rPr>
              <a:t>ЗАВДАННЯ </a:t>
            </a:r>
            <a:br>
              <a:rPr lang="uk-UA" sz="2700" b="1" dirty="0">
                <a:solidFill>
                  <a:schemeClr val="bg1"/>
                </a:solidFill>
              </a:rPr>
            </a:br>
            <a:r>
              <a:rPr lang="uk-UA" sz="2700" b="1" dirty="0" smtClean="0">
                <a:solidFill>
                  <a:schemeClr val="bg1"/>
                </a:solidFill>
              </a:rPr>
              <a:t>В </a:t>
            </a:r>
            <a:r>
              <a:rPr lang="uk-UA" sz="2700" b="1" dirty="0">
                <a:solidFill>
                  <a:schemeClr val="bg1"/>
                </a:solidFill>
              </a:rPr>
              <a:t>ПОЧАТКОВІЙ ШКОЛІ </a:t>
            </a:r>
            <a:br>
              <a:rPr lang="uk-UA" sz="2700" b="1" dirty="0">
                <a:solidFill>
                  <a:schemeClr val="bg1"/>
                </a:solidFill>
              </a:rPr>
            </a:br>
            <a:endParaRPr lang="uk-UA" sz="2700" dirty="0" smtClean="0">
              <a:solidFill>
                <a:schemeClr val="bg1"/>
              </a:solidFill>
            </a:endParaRPr>
          </a:p>
          <a:p>
            <a:pPr algn="ctr"/>
            <a:endParaRPr lang="uk-UA" sz="1000" dirty="0" smtClean="0">
              <a:solidFill>
                <a:schemeClr val="tx1"/>
              </a:solidFill>
            </a:endParaRPr>
          </a:p>
          <a:p>
            <a:pPr algn="r"/>
            <a:r>
              <a:rPr lang="uk-UA" sz="1600" dirty="0" smtClean="0">
                <a:solidFill>
                  <a:schemeClr val="bg1"/>
                </a:solidFill>
              </a:rPr>
              <a:t>Виконала: вчитель початкових класів</a:t>
            </a:r>
          </a:p>
          <a:p>
            <a:pPr algn="r"/>
            <a:r>
              <a:rPr lang="uk-UA" sz="1600" dirty="0" smtClean="0">
                <a:solidFill>
                  <a:schemeClr val="bg1"/>
                </a:solidFill>
              </a:rPr>
              <a:t>Борова  Галина  Вікторівна</a:t>
            </a:r>
            <a:endParaRPr lang="ru-RU" sz="1600" dirty="0" smtClean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</a:pPr>
            <a:endParaRPr lang="ru-RU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96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ифікація та зміст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86" y="2088345"/>
            <a:ext cx="5520274" cy="3680183"/>
          </a:xfrm>
          <a:prstGeom prst="rect">
            <a:avLst/>
          </a:prstGeom>
        </p:spPr>
      </p:pic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2915815" y="1521354"/>
            <a:ext cx="5976665" cy="3626115"/>
          </a:xfrm>
        </p:spPr>
        <p:txBody>
          <a:bodyPr/>
          <a:lstStyle/>
          <a:p>
            <a:r>
              <a:rPr lang="uk-UA" dirty="0"/>
              <a:t>Ключові компетентності – це </a:t>
            </a:r>
            <a:r>
              <a:rPr lang="uk-UA" b="1" dirty="0"/>
              <a:t>результат освіти, </a:t>
            </a:r>
            <a:r>
              <a:rPr lang="uk-UA" dirty="0"/>
              <a:t>який виявляється у володінні універсальними способами діяльності, які 1) найбільш затребувані у суспільстві; 2)які є дефіцитом для багатьох членів суспільства.</a:t>
            </a:r>
          </a:p>
          <a:p>
            <a:r>
              <a:rPr lang="uk-UA" dirty="0"/>
              <a:t>Є різні класифікації ключових </a:t>
            </a:r>
            <a:r>
              <a:rPr lang="uk-UA" dirty="0" err="1"/>
              <a:t>компетентностей</a:t>
            </a:r>
            <a:r>
              <a:rPr lang="uk-UA" dirty="0"/>
              <a:t>. </a:t>
            </a:r>
          </a:p>
          <a:p>
            <a:r>
              <a:rPr lang="uk-UA" dirty="0"/>
              <a:t>Важливо: вони відрізняються від загально-навчальних умінь і навиків</a:t>
            </a:r>
            <a:r>
              <a:rPr lang="uk-UA" dirty="0" smtClean="0"/>
              <a:t>.</a:t>
            </a:r>
            <a:endParaRPr lang="uk-UA" dirty="0"/>
          </a:p>
        </p:txBody>
      </p:sp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82551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міст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628650" y="1521354"/>
            <a:ext cx="8047806" cy="3626115"/>
          </a:xfrm>
        </p:spPr>
        <p:txBody>
          <a:bodyPr>
            <a:normAutofit lnSpcReduction="10000"/>
          </a:bodyPr>
          <a:lstStyle/>
          <a:p>
            <a:pPr lvl="0"/>
            <a:r>
              <a:rPr lang="uk-UA" dirty="0"/>
              <a:t>Обробка інформації і класифікація інформації за заданою основою – це </a:t>
            </a:r>
            <a:r>
              <a:rPr lang="uk-UA" b="1" dirty="0"/>
              <a:t>інформаційна компетентність.</a:t>
            </a:r>
            <a:r>
              <a:rPr lang="uk-UA" dirty="0"/>
              <a:t> </a:t>
            </a:r>
          </a:p>
          <a:p>
            <a:pPr lvl="0"/>
            <a:r>
              <a:rPr lang="uk-UA" dirty="0"/>
              <a:t>Планування діяльності і строге виконання алгоритму – це </a:t>
            </a:r>
            <a:r>
              <a:rPr lang="uk-UA" b="1" dirty="0" err="1"/>
              <a:t>самоорганізаційна</a:t>
            </a:r>
            <a:r>
              <a:rPr lang="uk-UA" dirty="0"/>
              <a:t> (вирішення проблем) </a:t>
            </a:r>
          </a:p>
          <a:p>
            <a:pPr lvl="0"/>
            <a:r>
              <a:rPr lang="uk-UA" dirty="0"/>
              <a:t>Написання тексту заданої структури, вміння відповідати на запитання слухачів під час виступу – це </a:t>
            </a:r>
            <a:r>
              <a:rPr lang="uk-UA" b="1" dirty="0"/>
              <a:t>комунікативна компетентність</a:t>
            </a:r>
            <a:r>
              <a:rPr lang="uk-UA" dirty="0"/>
              <a:t>. </a:t>
            </a:r>
          </a:p>
          <a:p>
            <a:pPr marL="0" indent="0">
              <a:buNone/>
            </a:pPr>
            <a:r>
              <a:rPr lang="uk-UA" b="1" dirty="0"/>
              <a:t>Кожна ключова компетентність має декілька аспектів, які в свою чергу, характеризуються різними рівнями</a:t>
            </a:r>
            <a:r>
              <a:rPr lang="uk-UA" b="1" dirty="0" smtClean="0"/>
              <a:t>.</a:t>
            </a:r>
            <a:endParaRPr lang="uk-UA" dirty="0"/>
          </a:p>
          <a:p>
            <a:pPr marL="0" indent="0">
              <a:buNone/>
            </a:pPr>
            <a:r>
              <a:rPr lang="uk-UA" i="1" dirty="0"/>
              <a:t>УВАГА: довідатись,  яку саме компетентність ми формулюємо, можна за постановкою задачі. Саме від формулювання завдання залежить, який саме аспект і якої компетентності ми формуємо. </a:t>
            </a:r>
            <a:endParaRPr lang="uk-UA" dirty="0"/>
          </a:p>
          <a:p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4201241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0" hangingPunct="0">
              <a:defRPr/>
            </a:pPr>
            <a:r>
              <a:rPr lang="uk-UA" sz="36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Times New Roman" pitchFamily="18" charset="0"/>
              </a:rPr>
              <a:t>КЛЮЧОВІ КОМПЕТЕНТНОСТІ</a:t>
            </a:r>
            <a:endParaRPr lang="en-US" sz="36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Безпосередній результат освітньої діяльності – формування ключових </a:t>
            </a:r>
            <a:r>
              <a:rPr lang="uk-UA" sz="2000" dirty="0" err="1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компетентностей</a:t>
            </a: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.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Наявність ключових </a:t>
            </a:r>
            <a:r>
              <a:rPr lang="uk-UA" sz="2000" dirty="0" err="1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компетентностей</a:t>
            </a: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 передбачає оволодіння універсальними способами діяльності. </a:t>
            </a:r>
            <a:endParaRPr lang="ru-RU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§"/>
              <a:defRPr/>
            </a:pPr>
            <a:r>
              <a:rPr lang="uk-UA" sz="2000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Формуються на загальному для всіх предметів змісті</a:t>
            </a:r>
            <a:r>
              <a:rPr lang="uk-UA" sz="20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Times New Roman" pitchFamily="18" charset="0"/>
              </a:rPr>
              <a:t>.</a:t>
            </a:r>
            <a:endParaRPr lang="uk-UA" sz="2000" dirty="0">
              <a:solidFill>
                <a:schemeClr val="tx1">
                  <a:lumMod val="95000"/>
                  <a:lumOff val="5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139775"/>
            <a:ext cx="3779912" cy="2561940"/>
          </a:xfrm>
          <a:prstGeom prst="rect">
            <a:avLst/>
          </a:prstGeom>
        </p:spPr>
      </p:pic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161064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17384"/>
            <a:ext cx="9144000" cy="53051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068" y="121196"/>
            <a:ext cx="7886700" cy="1104636"/>
          </a:xfrm>
        </p:spPr>
        <p:txBody>
          <a:bodyPr>
            <a:normAutofit/>
          </a:bodyPr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спекти ключових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1579205" y="895282"/>
            <a:ext cx="4968551" cy="954106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" name="TextBox 2"/>
          <p:cNvSpPr txBox="1"/>
          <p:nvPr/>
        </p:nvSpPr>
        <p:spPr>
          <a:xfrm>
            <a:off x="1579205" y="841276"/>
            <a:ext cx="48965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800" b="1" dirty="0" smtClean="0"/>
              <a:t>Ключові </a:t>
            </a:r>
          </a:p>
          <a:p>
            <a:pPr algn="ctr"/>
            <a:r>
              <a:rPr lang="uk-UA" sz="2800" b="1" dirty="0" smtClean="0"/>
              <a:t>компетентності</a:t>
            </a:r>
            <a:endParaRPr lang="uk-UA" sz="2800" dirty="0"/>
          </a:p>
        </p:txBody>
      </p:sp>
      <p:sp>
        <p:nvSpPr>
          <p:cNvPr id="14" name="TextBox 13"/>
          <p:cNvSpPr txBox="1"/>
          <p:nvPr/>
        </p:nvSpPr>
        <p:spPr>
          <a:xfrm>
            <a:off x="848598" y="1921396"/>
            <a:ext cx="1954741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/>
              <a:t>Інформаційн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47356" y="1921396"/>
            <a:ext cx="2016224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/>
              <a:t>Комунікативн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07596" y="1921396"/>
            <a:ext cx="3312366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b="1" dirty="0" err="1"/>
              <a:t>Самоменеджмент</a:t>
            </a:r>
            <a:endParaRPr lang="uk-UA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848597" y="2353444"/>
            <a:ext cx="2016225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/>
              <a:t>Планування інформаційного пошуку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9124" y="2929508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Витяг </a:t>
            </a:r>
            <a:r>
              <a:rPr lang="uk-UA" sz="1400" dirty="0"/>
              <a:t>первинної інформації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48599" y="4081636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Первинна </a:t>
            </a:r>
            <a:r>
              <a:rPr lang="uk-UA" sz="1400" dirty="0"/>
              <a:t>обробка інформації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48596" y="4637955"/>
            <a:ext cx="2026752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 smtClean="0"/>
              <a:t>Обробка </a:t>
            </a:r>
            <a:r>
              <a:rPr lang="uk-UA" sz="1400" dirty="0"/>
              <a:t>інформації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48599" y="3505572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uk-UA" sz="1400" dirty="0"/>
              <a:t>Витяг </a:t>
            </a:r>
            <a:r>
              <a:rPr lang="uk-UA" sz="1400" dirty="0" smtClean="0"/>
              <a:t>вторинної інформації</a:t>
            </a:r>
            <a:endParaRPr lang="uk-UA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2947356" y="3361556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Діалог</a:t>
            </a:r>
            <a:endParaRPr lang="uk-UA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2947356" y="2929508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ублічний </a:t>
            </a:r>
            <a:r>
              <a:rPr lang="uk-UA" sz="1400" dirty="0"/>
              <a:t>виступ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947356" y="2477715"/>
            <a:ext cx="201622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исьмова </a:t>
            </a:r>
            <a:r>
              <a:rPr lang="uk-UA" sz="1400" dirty="0"/>
              <a:t>комунікаці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947356" y="3793604"/>
            <a:ext cx="2016224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родуктивна </a:t>
            </a:r>
            <a:r>
              <a:rPr lang="uk-UA" sz="1400" dirty="0"/>
              <a:t>групова комунікаці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07595" y="2353444"/>
            <a:ext cx="331236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Ідентифікація (визначення) </a:t>
            </a:r>
            <a:r>
              <a:rPr lang="uk-UA" sz="1400" dirty="0"/>
              <a:t>проблем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107596" y="2713484"/>
            <a:ext cx="331236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Цілепокладання </a:t>
            </a:r>
            <a:r>
              <a:rPr lang="uk-UA" sz="1400" dirty="0"/>
              <a:t>і планування діяльності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107597" y="3125787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Застосування </a:t>
            </a:r>
            <a:r>
              <a:rPr lang="uk-UA" sz="1400" dirty="0"/>
              <a:t>технологій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107596" y="3557835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Планування ресурсів</a:t>
            </a:r>
            <a:endParaRPr lang="uk-UA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5109848" y="3937620"/>
            <a:ext cx="3310114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/>
              <a:t>Оцінка діяльності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107596" y="4349923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/>
              <a:t>Оцінка </a:t>
            </a:r>
            <a:r>
              <a:rPr lang="uk-UA" sz="1400" dirty="0" smtClean="0"/>
              <a:t>результатів діяльності</a:t>
            </a:r>
            <a:endParaRPr lang="uk-UA" sz="1400" dirty="0"/>
          </a:p>
        </p:txBody>
      </p:sp>
      <p:sp>
        <p:nvSpPr>
          <p:cNvPr id="34" name="TextBox 33"/>
          <p:cNvSpPr txBox="1"/>
          <p:nvPr/>
        </p:nvSpPr>
        <p:spPr>
          <a:xfrm>
            <a:off x="5107596" y="4729708"/>
            <a:ext cx="3312366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uk-UA" sz="1400" dirty="0" smtClean="0"/>
              <a:t>Оцінка </a:t>
            </a:r>
            <a:r>
              <a:rPr lang="uk-UA" sz="1400" dirty="0"/>
              <a:t>власного просування </a:t>
            </a:r>
            <a:r>
              <a:rPr lang="uk-UA" sz="1400" dirty="0" smtClean="0"/>
              <a:t>(рефлексія)</a:t>
            </a:r>
            <a:endParaRPr lang="uk-UA" sz="1400" dirty="0"/>
          </a:p>
        </p:txBody>
      </p:sp>
      <p:cxnSp>
        <p:nvCxnSpPr>
          <p:cNvPr id="40" name="Сполучна лінія уступом 39"/>
          <p:cNvCxnSpPr>
            <a:stCxn id="13" idx="4"/>
            <a:endCxn id="14" idx="0"/>
          </p:cNvCxnSpPr>
          <p:nvPr/>
        </p:nvCxnSpPr>
        <p:spPr>
          <a:xfrm rot="5400000">
            <a:off x="2908721" y="766636"/>
            <a:ext cx="72008" cy="223751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Сполучна лінія уступом 41"/>
          <p:cNvCxnSpPr>
            <a:stCxn id="13" idx="4"/>
            <a:endCxn id="16" idx="0"/>
          </p:cNvCxnSpPr>
          <p:nvPr/>
        </p:nvCxnSpPr>
        <p:spPr>
          <a:xfrm rot="16200000" flipH="1">
            <a:off x="5377626" y="535243"/>
            <a:ext cx="72008" cy="2700298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 сполучна лінія 43"/>
          <p:cNvCxnSpPr>
            <a:stCxn id="13" idx="4"/>
          </p:cNvCxnSpPr>
          <p:nvPr/>
        </p:nvCxnSpPr>
        <p:spPr>
          <a:xfrm>
            <a:off x="4063481" y="1849388"/>
            <a:ext cx="0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Групувати 4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48" name="Групувати 4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51" name="Прямокутний трикутник 5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52" name="Прямокутний трикутник 5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49" name="Рівнобедрений трикутник 4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50" name="Прямокутний трикутник 4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916905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Креативные дети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1520" y="2993161"/>
            <a:ext cx="3419873" cy="2279916"/>
          </a:xfrm>
          <a:prstGeom prst="rect">
            <a:avLst/>
          </a:prstGeom>
          <a:noFill/>
        </p:spPr>
      </p:pic>
      <p:sp>
        <p:nvSpPr>
          <p:cNvPr id="91141" name="Rectangle 5"/>
          <p:cNvSpPr>
            <a:spLocks noChangeArrowheads="1"/>
          </p:cNvSpPr>
          <p:nvPr/>
        </p:nvSpPr>
        <p:spPr bwMode="auto">
          <a:xfrm>
            <a:off x="2131219" y="178595"/>
            <a:ext cx="6072188" cy="1012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uk-UA" sz="1667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algn="ctr">
              <a:defRPr/>
            </a:pPr>
            <a:endParaRPr lang="uk-UA" sz="1667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1144" name="Rectangle 8"/>
          <p:cNvSpPr>
            <a:spLocks noChangeArrowheads="1"/>
          </p:cNvSpPr>
          <p:nvPr/>
        </p:nvSpPr>
        <p:spPr bwMode="auto">
          <a:xfrm>
            <a:off x="911490" y="5197740"/>
            <a:ext cx="7321021" cy="300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lnSpc>
                <a:spcPct val="8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None/>
              <a:defRPr/>
            </a:pPr>
            <a:r>
              <a:rPr lang="uk-UA" sz="1167"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endParaRPr lang="ru-RU" sz="1167"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25" y="1250157"/>
            <a:ext cx="7203282" cy="168244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uk-UA" sz="2333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Times New Roman" pitchFamily="18" charset="0"/>
            </a:endParaRPr>
          </a:p>
          <a:p>
            <a:pPr indent="519886">
              <a:defRPr/>
            </a:pPr>
            <a:r>
              <a:rPr lang="uk-UA" sz="2000" dirty="0">
                <a:cs typeface="Times New Roman" pitchFamily="18" charset="0"/>
              </a:rPr>
              <a:t>Учень визначає, якої  інформації не вистарчає для вирішення завдання; знаходить інформацію, якої не вистарчає, використовуючи додаткові джерела інформації (Інтернет, бібліотека,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uk-UA" sz="2000" dirty="0">
                <a:cs typeface="Times New Roman" pitchFamily="18" charset="0"/>
              </a:rPr>
              <a:t>періодика, енциклопедії, довідники). </a:t>
            </a:r>
            <a:endParaRPr lang="ru-RU" sz="2000" dirty="0">
              <a:cs typeface="Times New Roman" pitchFamily="18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</a:t>
            </a:r>
            <a:r>
              <a:rPr lang="en-US" sz="3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/>
            </a:r>
            <a:br>
              <a:rPr lang="en-US" sz="3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</a:b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планування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інформаційного пошуку </a:t>
            </a:r>
            <a:endParaRPr lang="ru-RU" sz="30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671393" y="3152130"/>
            <a:ext cx="42849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i="1" dirty="0">
                <a:cs typeface="Times New Roman" pitchFamily="18" charset="0"/>
              </a:rPr>
              <a:t>Традиційне завдання написати реферат спрямоване саме на формування в учнів цього аспекту. </a:t>
            </a:r>
            <a:endParaRPr lang="ru-RU" i="1" dirty="0">
              <a:cs typeface="Times New Roman" pitchFamily="18" charset="0"/>
            </a:endParaRPr>
          </a:p>
          <a:p>
            <a:endParaRPr lang="uk-UA" dirty="0"/>
          </a:p>
        </p:txBody>
      </p:sp>
      <p:grpSp>
        <p:nvGrpSpPr>
          <p:cNvPr id="14" name="Групувати 13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5" name="Групувати 14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8" name="Прямокутний трикутник 17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9" name="Прямокутний трикутник 18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6" name="Рівнобедрений трикутник 15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7" name="Прямокутний трикутник 16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457365578"/>
      </p:ext>
    </p:extLst>
  </p:cSld>
  <p:clrMapOvr>
    <a:masterClrMapping/>
  </p:clrMapOvr>
  <p:transition advTm="203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6" y="119062"/>
            <a:ext cx="7084219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 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винний пошук інформації </a:t>
            </a: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46609" y="849652"/>
            <a:ext cx="6250782" cy="32058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39" indent="-285739" eaLnBrk="0" hangingPunct="0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000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  <a:p>
            <a:pPr marL="285739" indent="-285739" eaLnBrk="0" hangingPunct="0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defRPr/>
            </a:pPr>
            <a:endParaRPr lang="uk-UA" sz="2000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  <a:p>
            <a:pPr indent="447128" algn="just">
              <a:defRPr/>
            </a:pPr>
            <a:r>
              <a:rPr lang="uk-UA" sz="2000" dirty="0">
                <a:cs typeface="Times New Roman" pitchFamily="18" charset="0"/>
              </a:rPr>
              <a:t>Учень працює з джерелом інформації (текст, довідникова література, усна мова)</a:t>
            </a:r>
            <a:r>
              <a:rPr lang="ru-RU" sz="2000" dirty="0">
                <a:cs typeface="Times New Roman" pitchFamily="18" charset="0"/>
              </a:rPr>
              <a:t>, </a:t>
            </a:r>
            <a:r>
              <a:rPr lang="uk-UA" sz="2000" dirty="0">
                <a:cs typeface="Times New Roman" pitchFamily="18" charset="0"/>
              </a:rPr>
              <a:t>виконуючи завдання. </a:t>
            </a:r>
            <a:endParaRPr lang="ru-RU" sz="2000" dirty="0">
              <a:cs typeface="Times New Roman" pitchFamily="18" charset="0"/>
            </a:endParaRPr>
          </a:p>
          <a:p>
            <a:pPr indent="447128" algn="just">
              <a:defRPr/>
            </a:pPr>
            <a:endParaRPr lang="uk-UA" sz="2000" dirty="0">
              <a:cs typeface="Times New Roman" pitchFamily="18" charset="0"/>
            </a:endParaRPr>
          </a:p>
          <a:p>
            <a:pPr>
              <a:buFont typeface="Arial" pitchFamily="34" charset="0"/>
              <a:buNone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  <a:sym typeface="Wingdings" pitchFamily="2" charset="2"/>
            </a:endParaRPr>
          </a:p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charset="0"/>
              <a:buChar char="•"/>
              <a:defRPr/>
            </a:pPr>
            <a:endParaRPr lang="uk-UA" sz="1333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 typeface="Arial" charset="0"/>
              <a:buChar char="•"/>
              <a:defRPr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471" y="2569468"/>
            <a:ext cx="3986529" cy="224308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405370" y="2872556"/>
            <a:ext cx="38164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i="1" dirty="0">
                <a:cs typeface="Times New Roman" pitchFamily="18" charset="0"/>
              </a:rPr>
              <a:t>Більшість завдань у підручнику спрямовані саме та перевірку цього аспекту. Наприклад</a:t>
            </a:r>
            <a:r>
              <a:rPr lang="ru-RU" i="1" dirty="0">
                <a:cs typeface="Times New Roman" pitchFamily="18" charset="0"/>
              </a:rPr>
              <a:t>: </a:t>
            </a:r>
            <a:r>
              <a:rPr lang="uk-UA" i="1" dirty="0">
                <a:cs typeface="Times New Roman" pitchFamily="18" charset="0"/>
              </a:rPr>
              <a:t> прочитати параграф і дати відповіді на запитання або знайти  інформацію  у  тексті. </a:t>
            </a:r>
            <a:endParaRPr lang="ru-RU" i="1" dirty="0">
              <a:cs typeface="Times New Roman" pitchFamily="18" charset="0"/>
            </a:endParaRPr>
          </a:p>
          <a:p>
            <a:endParaRPr lang="uk-UA" dirty="0"/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00348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6120"/>
            <a:ext cx="4644008" cy="3191700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5" y="119062"/>
            <a:ext cx="7203282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en-US" sz="3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Times New Roman" pitchFamily="18" charset="0"/>
              </a:rPr>
              <a:t>вторинний пошук інформації</a:t>
            </a:r>
            <a:r>
              <a:rPr lang="uk-UA" sz="3000" b="1" i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endParaRPr lang="uk-UA" sz="30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Times New Roman" pitchFamily="18" charset="0"/>
            </a:endParaRP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067944" y="1712009"/>
            <a:ext cx="6250782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447128" algn="just">
              <a:defRPr/>
            </a:pPr>
            <a:r>
              <a:rPr lang="uk-UA" sz="2000" dirty="0" smtClean="0">
                <a:cs typeface="Times New Roman" pitchFamily="18" charset="0"/>
              </a:rPr>
              <a:t>Учень </a:t>
            </a:r>
            <a:r>
              <a:rPr lang="uk-UA" sz="2000" dirty="0">
                <a:cs typeface="Times New Roman" pitchFamily="18" charset="0"/>
              </a:rPr>
              <a:t>працює з інформацією, яка</a:t>
            </a:r>
            <a:r>
              <a:rPr lang="en-US" sz="2000" dirty="0">
                <a:cs typeface="Times New Roman" pitchFamily="18" charset="0"/>
              </a:rPr>
              <a:t>:</a:t>
            </a:r>
            <a:r>
              <a:rPr lang="uk-UA" sz="2000" dirty="0">
                <a:cs typeface="Times New Roman" pitchFamily="18" charset="0"/>
              </a:rPr>
              <a:t>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1) </a:t>
            </a:r>
            <a:r>
              <a:rPr lang="uk-UA" sz="2000" dirty="0" smtClean="0">
                <a:cs typeface="Times New Roman" pitchFamily="18" charset="0"/>
              </a:rPr>
              <a:t>подана </a:t>
            </a:r>
            <a:r>
              <a:rPr lang="uk-UA" sz="2000" dirty="0">
                <a:cs typeface="Times New Roman" pitchFamily="18" charset="0"/>
              </a:rPr>
              <a:t>у декількох джерелах</a:t>
            </a:r>
            <a:r>
              <a:rPr lang="en-US" sz="2000" dirty="0">
                <a:cs typeface="Times New Roman" pitchFamily="18" charset="0"/>
              </a:rPr>
              <a:t>;</a:t>
            </a:r>
            <a:r>
              <a:rPr lang="uk-UA" sz="2000" dirty="0">
                <a:cs typeface="Times New Roman" pitchFamily="18" charset="0"/>
              </a:rPr>
              <a:t> </a:t>
            </a:r>
            <a:r>
              <a:rPr lang="en-US" sz="2000" dirty="0">
                <a:cs typeface="Times New Roman" pitchFamily="18" charset="0"/>
              </a:rPr>
              <a:t> </a:t>
            </a:r>
            <a:r>
              <a:rPr lang="uk-UA" sz="2000" dirty="0">
                <a:cs typeface="Times New Roman" pitchFamily="18" charset="0"/>
              </a:rPr>
              <a:t>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2</a:t>
            </a:r>
            <a:r>
              <a:rPr lang="uk-UA" sz="2000" b="1" dirty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) </a:t>
            </a:r>
            <a:r>
              <a:rPr lang="uk-UA" sz="2000" dirty="0">
                <a:cs typeface="Times New Roman" pitchFamily="18" charset="0"/>
              </a:rPr>
              <a:t>є у непрямому вигляді</a:t>
            </a:r>
            <a:r>
              <a:rPr lang="en-US" sz="2000" dirty="0">
                <a:cs typeface="Times New Roman" pitchFamily="18" charset="0"/>
              </a:rPr>
              <a:t>;</a:t>
            </a:r>
            <a:r>
              <a:rPr lang="uk-UA" sz="2000" dirty="0">
                <a:cs typeface="Times New Roman" pitchFamily="18" charset="0"/>
              </a:rPr>
              <a:t>  </a:t>
            </a:r>
            <a:endParaRPr lang="en-US" sz="2000" dirty="0" smtClean="0">
              <a:cs typeface="Times New Roman" pitchFamily="18" charset="0"/>
            </a:endParaRPr>
          </a:p>
          <a:p>
            <a:pPr algn="just">
              <a:defRPr/>
            </a:pPr>
            <a:r>
              <a:rPr lang="uk-UA" sz="2000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3</a:t>
            </a:r>
            <a:r>
              <a:rPr lang="uk-UA" sz="2000" b="1" dirty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>) </a:t>
            </a:r>
            <a:r>
              <a:rPr lang="uk-UA" sz="2000" dirty="0">
                <a:cs typeface="Times New Roman" pitchFamily="18" charset="0"/>
              </a:rPr>
              <a:t>є зайвою або суперечливою. </a:t>
            </a:r>
            <a:endParaRPr lang="uk-UA" sz="1333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12660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2911" y="3117280"/>
            <a:ext cx="3898178" cy="2592288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59657" y="119062"/>
            <a:ext cx="7322343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>
              <a:defRPr/>
            </a:pPr>
            <a:endParaRPr lang="uk-UA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 </a:t>
            </a:r>
            <a:endParaRPr lang="ru-RU" sz="3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винна обробка  </a:t>
            </a: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(співставлення) інформації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35696" y="1861480"/>
            <a:ext cx="5832648" cy="2436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sz="2333" dirty="0">
                <a:cs typeface="Times New Roman" pitchFamily="18" charset="0"/>
              </a:rPr>
              <a:t>Учень працює  з інформацією, поданою у різних форматах: текст, графіки, схеми,  діаграми, таблиці, малюнки. </a:t>
            </a:r>
            <a:endParaRPr lang="ru-RU" sz="2333" dirty="0">
              <a:cs typeface="Times New Roman" pitchFamily="18" charset="0"/>
            </a:endParaRPr>
          </a:p>
          <a:p>
            <a:pPr>
              <a:buFont typeface="Arial" pitchFamily="34" charset="0"/>
              <a:buNone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  <a:sym typeface="Wingdings" pitchFamily="2" charset="2"/>
            </a:endParaRPr>
          </a:p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charset="0"/>
              <a:buChar char="•"/>
              <a:defRPr/>
            </a:pPr>
            <a:endParaRPr lang="uk-UA" sz="1333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 typeface="Arial" charset="0"/>
              <a:buChar char="•"/>
              <a:defRPr/>
            </a:pPr>
            <a:endParaRPr lang="en-US" sz="20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69540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2" y="2178075"/>
            <a:ext cx="5364088" cy="3560880"/>
          </a:xfrm>
          <a:prstGeom prst="rect">
            <a:avLst/>
          </a:prstGeom>
        </p:spPr>
      </p:pic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1000125" y="119062"/>
            <a:ext cx="6881813" cy="77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uk-UA" sz="3333" b="1" dirty="0"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>
              <a:defRPr/>
            </a:pPr>
            <a:endParaRPr lang="uk-UA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+mj-cs"/>
            </a:endParaRPr>
          </a:p>
          <a:p>
            <a:pPr algn="ctr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en-US" sz="3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ru-RU" sz="3000" b="1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обробка інформації  </a:t>
            </a:r>
          </a:p>
        </p:txBody>
      </p:sp>
      <p:sp>
        <p:nvSpPr>
          <p:cNvPr id="819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53466" y="2634956"/>
            <a:ext cx="4090542" cy="1374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7128">
              <a:defRPr/>
            </a:pPr>
            <a:r>
              <a:rPr lang="uk-UA" sz="2000" dirty="0" smtClean="0">
                <a:cs typeface="Times New Roman" pitchFamily="18" charset="0"/>
              </a:rPr>
              <a:t>Учень  </a:t>
            </a:r>
            <a:r>
              <a:rPr lang="uk-UA" sz="2000" dirty="0">
                <a:cs typeface="Times New Roman" pitchFamily="18" charset="0"/>
              </a:rPr>
              <a:t>створює </a:t>
            </a:r>
            <a:r>
              <a:rPr lang="uk-UA" sz="2000" dirty="0" smtClean="0">
                <a:cs typeface="Times New Roman" pitchFamily="18" charset="0"/>
              </a:rPr>
              <a:t>нову інформацію </a:t>
            </a:r>
            <a:r>
              <a:rPr lang="uk-UA" sz="2000" dirty="0">
                <a:cs typeface="Times New Roman" pitchFamily="18" charset="0"/>
              </a:rPr>
              <a:t>на основі аналізу  тієї  інформації, якою він володіє,  формулює власні висновки</a:t>
            </a:r>
            <a:r>
              <a:rPr lang="uk-UA" sz="2333" dirty="0" smtClean="0">
                <a:cs typeface="Times New Roman" pitchFamily="18" charset="0"/>
              </a:rPr>
              <a:t>.</a:t>
            </a: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cs typeface="Times New Roman" pitchFamily="18" charset="0"/>
            </a:endParaRPr>
          </a:p>
        </p:txBody>
      </p:sp>
      <p:grpSp>
        <p:nvGrpSpPr>
          <p:cNvPr id="11" name="Групувати 1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2" name="Групувати 1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3" name="Рівнобедрений трикутник 1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4" name="Прямокутний трикутник 1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64164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sp>
        <p:nvSpPr>
          <p:cNvPr id="11266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52"/>
            <a:ext cx="76200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047735"/>
              </p:ext>
            </p:extLst>
          </p:nvPr>
        </p:nvGraphicFramePr>
        <p:xfrm>
          <a:off x="1178720" y="1479615"/>
          <a:ext cx="6727031" cy="3736539"/>
        </p:xfrm>
        <a:graphic>
          <a:graphicData uri="http://schemas.openxmlformats.org/drawingml/2006/table">
            <a:tbl>
              <a:tblPr/>
              <a:tblGrid>
                <a:gridCol w="1845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815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276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6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ланування інформаційного пошуку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казує, якою інформацією для вирішення поставленої задачі володіє, а якою – ні.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ибирає з наданої інформації необхідну,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Calibri" pitchFamily="34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ристується довідником, періодичними виданнями, енциклопедією, орієнтується в книзі за змістом, а на сайті – за посиланнями.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89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6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винний пошук інформації  </a:t>
                      </a:r>
                      <a:endParaRPr kumimoji="0" lang="ru-RU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постерігає / експериментує відповідно з поставленою задачею,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приймає основний зміст фактичної/оціночної інформації у монолозі, діалозі, дискусії (група),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изначає основну думку, причинно-наслідкові зв’язки, відношення виступаючого до подій і діючих осіб. 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68894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83768" y="1057300"/>
            <a:ext cx="4392488" cy="399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36" y="3835063"/>
            <a:ext cx="2714592" cy="187365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37220"/>
            <a:ext cx="8640960" cy="936104"/>
          </a:xfrm>
        </p:spPr>
        <p:txBody>
          <a:bodyPr>
            <a:normAutofit fontScale="90000"/>
          </a:bodyPr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ктуальність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ого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ідходу </a:t>
            </a:r>
            <a:b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освіті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51720" y="1148320"/>
            <a:ext cx="1368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а </a:t>
            </a:r>
            <a:endParaRPr lang="en-US" dirty="0" smtClean="0"/>
          </a:p>
          <a:p>
            <a:pPr algn="ctr"/>
            <a:r>
              <a:rPr lang="uk-UA" dirty="0" smtClean="0"/>
              <a:t>парадигма </a:t>
            </a:r>
            <a:r>
              <a:rPr lang="uk-UA" dirty="0"/>
              <a:t>освіт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51720" y="371398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і</a:t>
            </a:r>
          </a:p>
          <a:p>
            <a:pPr algn="ctr"/>
            <a:r>
              <a:rPr lang="uk-UA" dirty="0" smtClean="0"/>
              <a:t>підручники</a:t>
            </a:r>
            <a:endParaRPr lang="uk-UA" dirty="0"/>
          </a:p>
        </p:txBody>
      </p:sp>
      <p:sp>
        <p:nvSpPr>
          <p:cNvPr id="9" name="TextBox 8"/>
          <p:cNvSpPr txBox="1"/>
          <p:nvPr/>
        </p:nvSpPr>
        <p:spPr>
          <a:xfrm>
            <a:off x="4067944" y="4213898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Високі</a:t>
            </a:r>
          </a:p>
          <a:p>
            <a:pPr algn="ctr"/>
            <a:r>
              <a:rPr lang="uk-UA" dirty="0" smtClean="0"/>
              <a:t>знання</a:t>
            </a:r>
            <a:endParaRPr lang="uk-UA" dirty="0"/>
          </a:p>
        </p:txBody>
      </p:sp>
      <p:sp>
        <p:nvSpPr>
          <p:cNvPr id="10" name="TextBox 9"/>
          <p:cNvSpPr txBox="1"/>
          <p:nvPr/>
        </p:nvSpPr>
        <p:spPr>
          <a:xfrm>
            <a:off x="4966048" y="4359314"/>
            <a:ext cx="2160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изький </a:t>
            </a:r>
            <a:r>
              <a:rPr lang="uk-UA" dirty="0"/>
              <a:t>рівень </a:t>
            </a:r>
            <a:r>
              <a:rPr lang="uk-UA" dirty="0" smtClean="0"/>
              <a:t>застосування </a:t>
            </a:r>
          </a:p>
          <a:p>
            <a:pPr algn="ctr"/>
            <a:r>
              <a:rPr lang="uk-UA" dirty="0" smtClean="0"/>
              <a:t>знань</a:t>
            </a:r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5292080" y="3092631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Міжнародні дослідження</a:t>
            </a:r>
            <a:endParaRPr lang="uk-UA" dirty="0"/>
          </a:p>
        </p:txBody>
      </p:sp>
      <p:sp>
        <p:nvSpPr>
          <p:cNvPr id="12" name="TextBox 11"/>
          <p:cNvSpPr txBox="1"/>
          <p:nvPr/>
        </p:nvSpPr>
        <p:spPr>
          <a:xfrm>
            <a:off x="3959424" y="1179784"/>
            <a:ext cx="2844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Рада Європи</a:t>
            </a:r>
          </a:p>
          <a:p>
            <a:pPr algn="ctr"/>
            <a:r>
              <a:rPr lang="uk-UA" dirty="0" smtClean="0"/>
              <a:t>Ключові </a:t>
            </a:r>
            <a:r>
              <a:rPr lang="uk-UA" dirty="0"/>
              <a:t>компетентності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53672" y="2117397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Нові державні стандарти</a:t>
            </a:r>
            <a:endParaRPr lang="uk-UA" dirty="0"/>
          </a:p>
        </p:txBody>
      </p:sp>
      <p:grpSp>
        <p:nvGrpSpPr>
          <p:cNvPr id="21" name="Групувати 2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8" name="Групувати 1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9" name="Рівнобедрений трикутник 1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0" name="Прямокутний трикутник 1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5" name="Овал 4"/>
          <p:cNvSpPr/>
          <p:nvPr/>
        </p:nvSpPr>
        <p:spPr>
          <a:xfrm>
            <a:off x="3451394" y="2442498"/>
            <a:ext cx="2381236" cy="8583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TextBox 13"/>
          <p:cNvSpPr txBox="1"/>
          <p:nvPr/>
        </p:nvSpPr>
        <p:spPr>
          <a:xfrm>
            <a:off x="3419872" y="2635792"/>
            <a:ext cx="2448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b="1" dirty="0" err="1" smtClean="0"/>
              <a:t>Компетентнісний</a:t>
            </a:r>
            <a:r>
              <a:rPr lang="uk-UA" sz="1600" b="1" dirty="0" smtClean="0"/>
              <a:t> підхід</a:t>
            </a:r>
          </a:p>
          <a:p>
            <a:pPr algn="ctr"/>
            <a:r>
              <a:rPr lang="uk-UA" sz="1600" b="1" dirty="0" smtClean="0"/>
              <a:t>Актуальність</a:t>
            </a:r>
            <a:endParaRPr lang="uk-UA" sz="1600" dirty="0"/>
          </a:p>
        </p:txBody>
      </p:sp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628650" y="1521354"/>
            <a:ext cx="7886700" cy="367753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361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03"/>
            <a:ext cx="762000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endParaRPr lang="uk-UA" sz="3000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391703"/>
              </p:ext>
            </p:extLst>
          </p:nvPr>
        </p:nvGraphicFramePr>
        <p:xfrm>
          <a:off x="1119188" y="1595656"/>
          <a:ext cx="6667500" cy="3571875"/>
        </p:xfrm>
        <a:graphic>
          <a:graphicData uri="http://schemas.openxmlformats.org/drawingml/2006/table">
            <a:tbl>
              <a:tblPr/>
              <a:tblGrid>
                <a:gridCol w="1957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09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914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торинний пошук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находить і систематизує  інформацію  за  двома і  більше  основними джерелами</a:t>
                      </a:r>
                      <a:b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</a:b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(джерело: 1-2 простих за складом джерел, які містять надлишкову інформацію)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04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винна обробка  (співставлення)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истематизує  знайдену  інформацію  за заданою  схемою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еводить  просту  (односкладову) інформацію,  представлену  у  графічній  або  формалізованій  (символьній)  формі  у  текстову  і  навпаки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72418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4584" y="2727920"/>
            <a:ext cx="5362575" cy="3009900"/>
          </a:xfrm>
          <a:prstGeom prst="rect">
            <a:avLst/>
          </a:prstGeom>
        </p:spPr>
      </p:pic>
      <p:sp>
        <p:nvSpPr>
          <p:cNvPr id="13314" name="Прямокутник 1"/>
          <p:cNvSpPr>
            <a:spLocks noChangeArrowheads="1"/>
          </p:cNvSpPr>
          <p:nvPr/>
        </p:nvSpPr>
        <p:spPr bwMode="auto">
          <a:xfrm>
            <a:off x="2369344" y="535782"/>
            <a:ext cx="38100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uk-UA" altLang="uk-UA" sz="1500" b="1"/>
              <a:t/>
            </a:r>
            <a:br>
              <a:rPr lang="uk-UA" altLang="uk-UA" sz="1500" b="1"/>
            </a:br>
            <a:endParaRPr lang="uk-UA" altLang="uk-UA" sz="1500"/>
          </a:p>
        </p:txBody>
      </p:sp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6" name="Прямокутник 3"/>
          <p:cNvSpPr>
            <a:spLocks noChangeArrowheads="1"/>
          </p:cNvSpPr>
          <p:nvPr/>
        </p:nvSpPr>
        <p:spPr bwMode="auto">
          <a:xfrm>
            <a:off x="1059657" y="1428750"/>
            <a:ext cx="7143750" cy="2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39" indent="-285739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80000"/>
              <a:buFont typeface="Wingdings" pitchFamily="2" charset="2"/>
              <a:buChar char="n"/>
              <a:defRPr/>
            </a:pPr>
            <a:endParaRPr lang="uk-UA" sz="2333" dirty="0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buFont typeface="Arial" charset="0"/>
              <a:buChar char="•"/>
              <a:defRPr/>
            </a:pPr>
            <a:endParaRPr lang="uk-UA" sz="3000" dirty="0">
              <a:latin typeface="Times New Roman" pitchFamily="18" charset="0"/>
            </a:endParaRPr>
          </a:p>
          <a:p>
            <a:pPr>
              <a:defRPr/>
            </a:pPr>
            <a:endParaRPr lang="uk-UA" sz="3000" dirty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762000" y="-7752"/>
            <a:ext cx="76200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uk-UA" sz="3000" dirty="0">
              <a:solidFill>
                <a:schemeClr val="tx2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ІНФОРМАЦІЙНА КОМПЕТЕНТНІСТЬ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 </a:t>
            </a:r>
            <a:endParaRPr lang="en-US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ea typeface="+mj-ea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перший </a:t>
            </a:r>
            <a:r>
              <a:rPr lang="uk-UA" sz="3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Times New Roman" pitchFamily="18" charset="0"/>
              </a:rPr>
              <a:t>рівень, орієнтовно 1-4 класи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9995096"/>
              </p:ext>
            </p:extLst>
          </p:nvPr>
        </p:nvGraphicFramePr>
        <p:xfrm>
          <a:off x="2326927" y="1327905"/>
          <a:ext cx="6310313" cy="2857500"/>
        </p:xfrm>
        <a:graphic>
          <a:graphicData uri="http://schemas.openxmlformats.org/drawingml/2006/table">
            <a:tbl>
              <a:tblPr/>
              <a:tblGrid>
                <a:gridCol w="2024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862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57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0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робка інформації</a:t>
                      </a:r>
                      <a:endParaRPr kumimoji="0" lang="ru-RU" sz="20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очно  передає  отриману  інформацію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дає  запитання,  вказуючи  на недостатність  інформації  або  вказує  на інформацію,  якої  не  розуміє,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 typeface="Symbol" pitchFamily="18" charset="2"/>
                        <a:buChar char=""/>
                        <a:tabLst>
                          <a:tab pos="88900" algn="l"/>
                          <a:tab pos="179388" algn="l"/>
                        </a:tabLst>
                      </a:pPr>
                      <a:r>
                        <a:rPr kumimoji="0" lang="uk-UA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находить  висновки  і  аргументи у наданому  джерелі  інформації. </a:t>
                      </a:r>
                      <a:endParaRPr kumimoji="0" lang="ru-RU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14960" marR="14960" marT="14960" marB="1496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3" name="Групувати 12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6" name="Прямокутний трикутник 15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7" name="Прямокутний трикутник 16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4" name="Рівнобедрений трикутник 13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5" name="Прямокутний трикутник 14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58515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3114790"/>
            <a:ext cx="6004861" cy="2600210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1119188" y="773907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834007" y="565658"/>
            <a:ext cx="7914457" cy="23490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КОМПЕТЕНТНІ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C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НО-ЗОРІЄНТОВАНІ ЗАВДАННЯ</a:t>
            </a:r>
            <a:r>
              <a:rPr lang="en-US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: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+mj-ea"/>
                <a:cs typeface="Times New Roman" pitchFamily="18" charset="0"/>
              </a:rPr>
              <a:t> </a:t>
            </a:r>
            <a:endParaRPr lang="uk-UA" sz="3000" b="1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Times New Roman" pitchFamily="18" charset="0"/>
            </a:endParaRPr>
          </a:p>
          <a:p>
            <a:pPr eaLnBrk="0" hangingPunct="0">
              <a:buFontTx/>
              <a:buChar char="•"/>
              <a:defRPr/>
            </a:pPr>
            <a:endParaRPr lang="uk-UA" sz="2333" dirty="0" smtClean="0">
              <a:cs typeface="Times New Roman" pitchFamily="18" charset="0"/>
            </a:endParaRP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Діяльнісні</a:t>
            </a:r>
            <a:r>
              <a:rPr lang="uk-UA" sz="2333" dirty="0">
                <a:cs typeface="Times New Roman" pitchFamily="18" charset="0"/>
              </a:rPr>
              <a:t>; </a:t>
            </a: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моделюють </a:t>
            </a:r>
            <a:r>
              <a:rPr lang="uk-UA" sz="2333" dirty="0">
                <a:cs typeface="Times New Roman" pitchFamily="18" charset="0"/>
              </a:rPr>
              <a:t>практичну,  життєву  ситуацію</a:t>
            </a:r>
            <a:r>
              <a:rPr lang="uk-UA" sz="2333" dirty="0" smtClean="0">
                <a:cs typeface="Times New Roman" pitchFamily="18" charset="0"/>
              </a:rPr>
              <a:t>;</a:t>
            </a:r>
            <a:endParaRPr lang="uk-UA" sz="2333" dirty="0">
              <a:cs typeface="Times New Roman" pitchFamily="18" charset="0"/>
            </a:endParaRP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побудовані  </a:t>
            </a:r>
            <a:r>
              <a:rPr lang="uk-UA" sz="2333" dirty="0">
                <a:cs typeface="Times New Roman" pitchFamily="18" charset="0"/>
              </a:rPr>
              <a:t>на  актуальному  для  учнів матеріалі; </a:t>
            </a:r>
          </a:p>
          <a:p>
            <a:pPr eaLnBrk="0" hangingPunct="0">
              <a:buFontTx/>
              <a:buChar char="•"/>
              <a:defRPr/>
            </a:pPr>
            <a:r>
              <a:rPr lang="uk-UA" sz="2333" dirty="0" smtClean="0">
                <a:cs typeface="Times New Roman" pitchFamily="18" charset="0"/>
              </a:rPr>
              <a:t> мають </a:t>
            </a:r>
            <a:r>
              <a:rPr lang="uk-UA" sz="2333" dirty="0">
                <a:cs typeface="Times New Roman" pitchFamily="18" charset="0"/>
              </a:rPr>
              <a:t>особливу структуру.</a:t>
            </a:r>
            <a:r>
              <a:rPr lang="ru-RU" sz="2333" dirty="0">
                <a:cs typeface="Times New Roman" pitchFamily="18" charset="0"/>
              </a:rPr>
              <a:t>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82284"/>
            <a:ext cx="9144000" cy="530516"/>
          </a:xfrm>
          <a:prstGeom prst="rect">
            <a:avLst/>
          </a:prstGeom>
        </p:spPr>
      </p:pic>
      <p:grpSp>
        <p:nvGrpSpPr>
          <p:cNvPr id="10" name="Групувати 9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1" name="Групувати 10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4" name="Прямокутний трикутник 13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5" name="Прямокутний трикутник 14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2" name="Рівнобедрений трикутник 11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3" name="Прямокутний трикутник 12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816607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1119188" y="595312"/>
            <a:ext cx="7262813" cy="50276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1059657" y="265212"/>
            <a:ext cx="702468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собливості структури  </a:t>
            </a:r>
            <a:endParaRPr lang="uk-UA" sz="3000" b="1" dirty="0" smtClean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lt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uk-UA" sz="3000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компетентнісно</a:t>
            </a:r>
            <a:r>
              <a:rPr lang="uk-UA" sz="3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-</a:t>
            </a:r>
            <a:r>
              <a:rPr lang="ru-RU" sz="3000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з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орієнтованих завдань</a:t>
            </a:r>
            <a:endParaRPr lang="ru-RU" sz="2333" b="1" dirty="0">
              <a:solidFill>
                <a:schemeClr val="accent6">
                  <a:lumMod val="75000"/>
                </a:schemeClr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3321844" y="2857500"/>
            <a:ext cx="2797968" cy="1119188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2000" b="1" dirty="0">
                <a:solidFill>
                  <a:schemeClr val="bg1"/>
                </a:solidFill>
              </a:rPr>
              <a:t>СТРУКТУРА</a:t>
            </a:r>
            <a:endParaRPr lang="ru-RU" sz="20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uk-UA" sz="1333" b="1" dirty="0" err="1">
                <a:solidFill>
                  <a:schemeClr val="bg1"/>
                </a:solidFill>
              </a:rPr>
              <a:t>компетентістно-орієнтованого</a:t>
            </a:r>
            <a:r>
              <a:rPr lang="uk-UA" sz="1333" b="1" dirty="0">
                <a:solidFill>
                  <a:schemeClr val="bg1"/>
                </a:solidFill>
              </a:rPr>
              <a:t> завдання</a:t>
            </a:r>
            <a:endParaRPr lang="ru-RU" sz="1333" b="1" dirty="0">
              <a:solidFill>
                <a:schemeClr val="bg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833563" y="2321719"/>
            <a:ext cx="1476375" cy="654843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Стимул</a:t>
            </a:r>
            <a:endParaRPr lang="ru-RU" sz="1500" dirty="0"/>
          </a:p>
        </p:txBody>
      </p:sp>
      <p:sp>
        <p:nvSpPr>
          <p:cNvPr id="11" name="Овал 10"/>
          <p:cNvSpPr/>
          <p:nvPr/>
        </p:nvSpPr>
        <p:spPr>
          <a:xfrm>
            <a:off x="5643563" y="3750469"/>
            <a:ext cx="1905000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Інструмент перевірки</a:t>
            </a:r>
            <a:endParaRPr lang="ru-RU" sz="1500" dirty="0"/>
          </a:p>
        </p:txBody>
      </p:sp>
      <p:sp>
        <p:nvSpPr>
          <p:cNvPr id="12" name="Овал 11"/>
          <p:cNvSpPr/>
          <p:nvPr/>
        </p:nvSpPr>
        <p:spPr>
          <a:xfrm>
            <a:off x="1238250" y="3631407"/>
            <a:ext cx="2262188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Джерело </a:t>
            </a:r>
            <a:r>
              <a:rPr lang="uk-UA" sz="1500" dirty="0" err="1"/>
              <a:t>інформаціїї</a:t>
            </a:r>
            <a:endParaRPr lang="ru-RU" sz="1500" dirty="0"/>
          </a:p>
        </p:txBody>
      </p:sp>
      <p:sp>
        <p:nvSpPr>
          <p:cNvPr id="13" name="Овал 12"/>
          <p:cNvSpPr/>
          <p:nvPr/>
        </p:nvSpPr>
        <p:spPr>
          <a:xfrm>
            <a:off x="5524500" y="2262188"/>
            <a:ext cx="2440782" cy="762000"/>
          </a:xfrm>
          <a:prstGeom prst="ellipse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Формулювання завдання</a:t>
            </a:r>
            <a:endParaRPr lang="ru-RU" sz="1500" dirty="0"/>
          </a:p>
        </p:txBody>
      </p:sp>
      <p:sp>
        <p:nvSpPr>
          <p:cNvPr id="17" name="Стрелка вверх 16"/>
          <p:cNvSpPr/>
          <p:nvPr/>
        </p:nvSpPr>
        <p:spPr>
          <a:xfrm>
            <a:off x="6596063" y="1905000"/>
            <a:ext cx="403490" cy="357188"/>
          </a:xfrm>
          <a:prstGeom prst="up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18" name="Стрелка вверх 17"/>
          <p:cNvSpPr/>
          <p:nvPr/>
        </p:nvSpPr>
        <p:spPr>
          <a:xfrm>
            <a:off x="2296302" y="2024063"/>
            <a:ext cx="403490" cy="297656"/>
          </a:xfrm>
          <a:prstGeom prst="up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19" name="Стрелка вниз 18"/>
          <p:cNvSpPr/>
          <p:nvPr/>
        </p:nvSpPr>
        <p:spPr>
          <a:xfrm>
            <a:off x="6536532" y="4524375"/>
            <a:ext cx="403489" cy="398198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20" name="Стрелка вниз 19"/>
          <p:cNvSpPr/>
          <p:nvPr/>
        </p:nvSpPr>
        <p:spPr>
          <a:xfrm>
            <a:off x="2250282" y="4401344"/>
            <a:ext cx="403489" cy="301625"/>
          </a:xfrm>
          <a:prstGeom prst="down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00"/>
          </a:p>
        </p:txBody>
      </p:sp>
      <p:sp>
        <p:nvSpPr>
          <p:cNvPr id="23" name="Прямоугольник 22"/>
          <p:cNvSpPr/>
          <p:nvPr/>
        </p:nvSpPr>
        <p:spPr>
          <a:xfrm>
            <a:off x="1416844" y="1547813"/>
            <a:ext cx="2559843" cy="476250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>
                <a:solidFill>
                  <a:schemeClr val="bg1"/>
                </a:solidFill>
              </a:rPr>
              <a:t>Мотивує на виконання завдання</a:t>
            </a:r>
            <a:endParaRPr lang="ru-RU" sz="1500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238250" y="4702969"/>
            <a:ext cx="2917032" cy="357188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Містить необхідну інформацію</a:t>
            </a:r>
            <a:endParaRPr lang="ru-RU" sz="15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119813" y="1547813"/>
            <a:ext cx="1607344" cy="357188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Задає діяльність</a:t>
            </a:r>
            <a:endParaRPr lang="ru-RU" sz="15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524500" y="4941094"/>
            <a:ext cx="2857500" cy="476250"/>
          </a:xfrm>
          <a:prstGeom prst="rec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dirty="0"/>
              <a:t>Визначає критерії оцінювання</a:t>
            </a:r>
            <a:endParaRPr lang="ru-RU" sz="1500" dirty="0"/>
          </a:p>
        </p:txBody>
      </p:sp>
      <p:cxnSp>
        <p:nvCxnSpPr>
          <p:cNvPr id="42" name="Shape 41"/>
          <p:cNvCxnSpPr>
            <a:stCxn id="9" idx="0"/>
            <a:endCxn id="13" idx="2"/>
          </p:cNvCxnSpPr>
          <p:nvPr/>
        </p:nvCxnSpPr>
        <p:spPr>
          <a:xfrm rot="5400000" flipH="1" flipV="1">
            <a:off x="5015839" y="2348839"/>
            <a:ext cx="214313" cy="803010"/>
          </a:xfrm>
          <a:prstGeom prst="curvedConnector2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6" name="Скругленная соединительная линия 45"/>
          <p:cNvCxnSpPr/>
          <p:nvPr/>
        </p:nvCxnSpPr>
        <p:spPr>
          <a:xfrm rot="10800000">
            <a:off x="3321844" y="2559845"/>
            <a:ext cx="1071563" cy="29765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8" name="Shape 47"/>
          <p:cNvCxnSpPr>
            <a:endCxn id="11" idx="3"/>
          </p:cNvCxnSpPr>
          <p:nvPr/>
        </p:nvCxnSpPr>
        <p:spPr>
          <a:xfrm>
            <a:off x="5107782" y="3988594"/>
            <a:ext cx="814917" cy="412750"/>
          </a:xfrm>
          <a:prstGeom prst="curvedConnector4">
            <a:avLst>
              <a:gd name="adj1" fmla="val 32880"/>
              <a:gd name="adj2" fmla="val 146206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50" name="Скругленная соединительная линия 49"/>
          <p:cNvCxnSpPr/>
          <p:nvPr/>
        </p:nvCxnSpPr>
        <p:spPr>
          <a:xfrm rot="10800000" flipV="1">
            <a:off x="3262312" y="3988594"/>
            <a:ext cx="1250157" cy="238125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pSp>
        <p:nvGrpSpPr>
          <p:cNvPr id="31" name="Групувати 30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32" name="Групувати 31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35" name="Прямокутний трикутник 34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36" name="Прямокутний трикутник 35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33" name="Рівнобедрений трикутник 32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34" name="Прямокутний трикутник 33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423898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sp>
        <p:nvSpPr>
          <p:cNvPr id="4" name="Прямокутник 3"/>
          <p:cNvSpPr/>
          <p:nvPr/>
        </p:nvSpPr>
        <p:spPr>
          <a:xfrm>
            <a:off x="1119188" y="416719"/>
            <a:ext cx="7262813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2667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uk-UA" sz="30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cs typeface="Times New Roman" pitchFamily="18" charset="0"/>
              </a:rPr>
              <a:t>ТЕСТОВІ ЗАВДАННЯ</a:t>
            </a:r>
          </a:p>
        </p:txBody>
      </p:sp>
      <p:sp>
        <p:nvSpPr>
          <p:cNvPr id="8" name="Выноска-облако 7"/>
          <p:cNvSpPr/>
          <p:nvPr/>
        </p:nvSpPr>
        <p:spPr>
          <a:xfrm>
            <a:off x="940594" y="1129308"/>
            <a:ext cx="1785938" cy="107156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>
                <a:solidFill>
                  <a:schemeClr val="bg1"/>
                </a:solidFill>
              </a:rPr>
              <a:t>Розумний об</a:t>
            </a:r>
            <a:r>
              <a:rPr lang="en-US" sz="1500" b="1" dirty="0">
                <a:solidFill>
                  <a:schemeClr val="bg1"/>
                </a:solidFill>
              </a:rPr>
              <a:t>’</a:t>
            </a:r>
            <a:r>
              <a:rPr lang="uk-UA" sz="1500" b="1" dirty="0" err="1">
                <a:solidFill>
                  <a:schemeClr val="bg1"/>
                </a:solidFill>
              </a:rPr>
              <a:t>єм</a:t>
            </a:r>
            <a:r>
              <a:rPr lang="uk-UA" sz="1500" b="1" dirty="0">
                <a:solidFill>
                  <a:schemeClr val="bg1"/>
                </a:solidFill>
              </a:rPr>
              <a:t> тексту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13" name="Выноска-облако 12"/>
          <p:cNvSpPr/>
          <p:nvPr/>
        </p:nvSpPr>
        <p:spPr>
          <a:xfrm>
            <a:off x="5881688" y="1250157"/>
            <a:ext cx="2500313" cy="154781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використання НЕ з дієсловом</a:t>
            </a:r>
            <a:endParaRPr lang="ru-RU" sz="1500" b="1" dirty="0"/>
          </a:p>
        </p:txBody>
      </p:sp>
      <p:sp>
        <p:nvSpPr>
          <p:cNvPr id="14" name="Выноска-облако 13"/>
          <p:cNvSpPr/>
          <p:nvPr/>
        </p:nvSpPr>
        <p:spPr>
          <a:xfrm>
            <a:off x="251520" y="2641476"/>
            <a:ext cx="3631407" cy="2083594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використання у джерелах програмного матеріалу</a:t>
            </a:r>
            <a:endParaRPr lang="ru-RU" sz="1500" b="1" dirty="0"/>
          </a:p>
        </p:txBody>
      </p:sp>
      <p:sp>
        <p:nvSpPr>
          <p:cNvPr id="15" name="Выноска-облако 14"/>
          <p:cNvSpPr/>
          <p:nvPr/>
        </p:nvSpPr>
        <p:spPr>
          <a:xfrm>
            <a:off x="4720829" y="3381772"/>
            <a:ext cx="2321718" cy="1547813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Заборона на використання однотипних завдань у тесті</a:t>
            </a:r>
            <a:endParaRPr lang="ru-RU" sz="1500" b="1" dirty="0"/>
          </a:p>
        </p:txBody>
      </p:sp>
      <p:sp>
        <p:nvSpPr>
          <p:cNvPr id="16" name="Выноска-облако 15"/>
          <p:cNvSpPr/>
          <p:nvPr/>
        </p:nvSpPr>
        <p:spPr>
          <a:xfrm>
            <a:off x="3525392" y="1131094"/>
            <a:ext cx="2198736" cy="1785938"/>
          </a:xfrm>
          <a:prstGeom prst="cloudCallout">
            <a:avLst/>
          </a:prstGeom>
          <a:effectLst>
            <a:outerShdw blurRad="57150" dist="19050" dir="5400000" algn="ctr" rotWithShape="0">
              <a:srgbClr val="000000">
                <a:alpha val="63000"/>
              </a:srgbClr>
            </a:outerShdw>
            <a:reflection blurRad="6350" stA="52000" endA="300" endPos="35000" dir="5400000" sy="-100000" algn="bl" rotWithShape="0"/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dirty="0"/>
              <a:t>Врахування вікових особливостей</a:t>
            </a:r>
            <a:endParaRPr lang="ru-RU" sz="1500" b="1" dirty="0"/>
          </a:p>
        </p:txBody>
      </p:sp>
      <p:grpSp>
        <p:nvGrpSpPr>
          <p:cNvPr id="12" name="Групувати 11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427447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85754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85754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83568" y="655970"/>
            <a:ext cx="7738917" cy="1071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 algn="ctr"/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Репозитарій інформаційно-освітніх ресурсів  </a:t>
            </a:r>
            <a:r>
              <a:rPr lang="uk-UA" sz="32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25</a:t>
            </a:fld>
            <a:endParaRPr lang="uk-UA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79512" y="1921397"/>
            <a:ext cx="56886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ru-R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ий</a:t>
            </a:r>
            <a:r>
              <a:rPr lang="ru-R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риродничий журнал для д</a:t>
            </a: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</a:t>
            </a:r>
            <a:r>
              <a:rPr lang="ru-R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й 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ru-RU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solidFill>
                  <a:srgbClr val="7DBD3F"/>
                </a:solidFill>
                <a:latin typeface="Times New Roman" pitchFamily="18" charset="0"/>
                <a:cs typeface="Times New Roman" pitchFamily="18" charset="0"/>
              </a:rPr>
              <a:t>(5000)</a:t>
            </a:r>
            <a:endParaRPr lang="ru-RU" sz="2000" dirty="0">
              <a:solidFill>
                <a:srgbClr val="7DBD3F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ково-популярна природнича газета для розумників та розумниць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КОЛОСОЧ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>
                <a:solidFill>
                  <a:srgbClr val="7DBD3F"/>
                </a:solidFill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 (8 000) </a:t>
            </a:r>
            <a:endParaRPr lang="uk-UA" sz="20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ерія книг науково-популярної природничої тематики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БІБЛІОТЕЧКА КОЛОСКА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3038">
              <a:buClr>
                <a:schemeClr val="accent4">
                  <a:lumMod val="65000"/>
                  <a:lumOff val="35000"/>
                </a:schemeClr>
              </a:buClr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uk-UA" sz="2000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(10 000)</a:t>
            </a:r>
            <a:endParaRPr lang="ru-RU" sz="2000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 descr="http://atotarho12.narod.ru/clipart/l/lebe/lebed1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340954"/>
            <a:ext cx="3776532" cy="246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grpSp>
        <p:nvGrpSpPr>
          <p:cNvPr id="15" name="Групувати 1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10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4598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85754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9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85754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5650" y="561976"/>
            <a:ext cx="8388351" cy="12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 algn="ctr"/>
            <a:r>
              <a:rPr lang="uk-UA" sz="32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Репозитарій інформаційно-освітніх ресурсів</a:t>
            </a:r>
            <a:endParaRPr lang="en-US" sz="32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  <a:p>
            <a:pPr marL="342900" indent="-342900" algn="ctr"/>
            <a:r>
              <a:rPr lang="uk-UA" sz="3200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Adobe Gothic Std B" pitchFamily="34" charset="-128"/>
                <a:cs typeface="Calibri" pitchFamily="34" charset="0"/>
              </a:rPr>
              <a:t>”</a:t>
            </a:r>
            <a:endParaRPr lang="uk-UA" sz="3200" dirty="0">
              <a:solidFill>
                <a:srgbClr val="7DBD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80135" y="1993405"/>
            <a:ext cx="489654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газет (2012-2015)</a:t>
            </a:r>
            <a:endPara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журналів (2006-2015)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атеріали для підготовки до конкурсу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КОЛОСОК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endParaRPr lang="ru-RU" sz="20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ироднича гра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en-US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KOLOSOK-online”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нформаційно-методичні матеріали для вчителів початкової школи та природничих предметів</a:t>
            </a:r>
          </a:p>
        </p:txBody>
      </p:sp>
      <p:pic>
        <p:nvPicPr>
          <p:cNvPr id="12" name="Picture 2" descr="http://uc.static.lolkot.ru/picture/13194_36823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73" y="2655590"/>
            <a:ext cx="3932766" cy="262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увати 14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7" name="Групувати 1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0" name="Прямокутний трикутник 1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1" name="Прямокутний трикутник 2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8" name="Рівнобедрений трикутник 1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" name="Прямокутний трикутник 1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8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974826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93526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3702"/>
            <a:ext cx="9144000" cy="530516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630957" y="917416"/>
            <a:ext cx="7886700" cy="37402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uk-UA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611560" y="3721596"/>
            <a:ext cx="7886700" cy="1280964"/>
          </a:xfrm>
        </p:spPr>
        <p:txBody>
          <a:bodyPr>
            <a:noAutofit/>
          </a:bodyPr>
          <a:lstStyle/>
          <a:p>
            <a:pPr algn="ctr"/>
            <a:r>
              <a:rPr lang="uk-UA" sz="51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ЯКУЮ ЗА УВАГУ!</a:t>
            </a:r>
            <a:endParaRPr lang="uk-UA" sz="5100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300161"/>
            <a:ext cx="6667500" cy="3076575"/>
          </a:xfrm>
          <a:prstGeom prst="rect">
            <a:avLst/>
          </a:prstGeom>
        </p:spPr>
      </p:pic>
      <p:sp>
        <p:nvSpPr>
          <p:cNvPr id="3" name="Прямокутник 2"/>
          <p:cNvSpPr/>
          <p:nvPr/>
        </p:nvSpPr>
        <p:spPr>
          <a:xfrm>
            <a:off x="2915816" y="3243584"/>
            <a:ext cx="5556457" cy="694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uk-UA" b="1" i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„</a:t>
            </a:r>
            <a:r>
              <a:rPr lang="uk-UA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віта – найпотужніша зброя, аби змінити світ</a:t>
            </a:r>
            <a:r>
              <a:rPr lang="uk-UA" b="1" i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".</a:t>
            </a:r>
          </a:p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uk-UA" sz="1600" b="1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льсон </a:t>
            </a:r>
            <a:r>
              <a:rPr lang="uk-UA" sz="1600" b="1" i="1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ндела</a:t>
            </a:r>
            <a:endParaRPr lang="uk-UA" sz="1600" dirty="0">
              <a:solidFill>
                <a:schemeClr val="accent2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7" name="Объект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91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ому час говорити про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ий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ід в освіті?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1. </a:t>
            </a:r>
            <a:r>
              <a:rPr lang="uk-UA" dirty="0"/>
              <a:t>Час прийшов не сьогодні, а значно раніше. У 1996 році Рада Європи не просто проголосила </a:t>
            </a:r>
            <a:r>
              <a:rPr lang="uk-UA" dirty="0" err="1"/>
              <a:t>компетентнісний</a:t>
            </a:r>
            <a:r>
              <a:rPr lang="uk-UA" dirty="0"/>
              <a:t> підхід як основу освіти, але й визначила перелік цих </a:t>
            </a:r>
            <a:r>
              <a:rPr lang="uk-UA" dirty="0" err="1"/>
              <a:t>компетентностей</a:t>
            </a:r>
            <a:r>
              <a:rPr lang="uk-UA" dirty="0"/>
              <a:t>. 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2. </a:t>
            </a:r>
            <a:r>
              <a:rPr lang="uk-UA" dirty="0" err="1"/>
              <a:t>Компетентнісний</a:t>
            </a:r>
            <a:r>
              <a:rPr lang="uk-UA" dirty="0"/>
              <a:t> підхід був покладений в основу Державних стандартів для початкової школи 2011 року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3. </a:t>
            </a:r>
            <a:r>
              <a:rPr lang="uk-UA" dirty="0" err="1"/>
              <a:t>Компетеннісно</a:t>
            </a:r>
            <a:r>
              <a:rPr lang="uk-UA" dirty="0"/>
              <a:t> орієнтовані завдання включені до тестів міжнародного порівняльного дослідження </a:t>
            </a:r>
            <a:r>
              <a:rPr lang="en-US" dirty="0"/>
              <a:t>TIMS</a:t>
            </a:r>
            <a:r>
              <a:rPr lang="uk-UA" dirty="0"/>
              <a:t>. 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4. </a:t>
            </a:r>
            <a:r>
              <a:rPr lang="uk-UA" dirty="0"/>
              <a:t>Такі завдання трапляються на олімпіадах і конкурсах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5. </a:t>
            </a:r>
            <a:r>
              <a:rPr lang="uk-UA" dirty="0"/>
              <a:t>Ми очікуємо на нові державні стандарти, які проголошують </a:t>
            </a:r>
            <a:r>
              <a:rPr lang="uk-UA" dirty="0" err="1"/>
              <a:t>компетентнісний</a:t>
            </a:r>
            <a:r>
              <a:rPr lang="uk-UA" dirty="0"/>
              <a:t> підхід, а отже і на нові підручники, написані на </a:t>
            </a:r>
            <a:r>
              <a:rPr lang="uk-UA" dirty="0" err="1"/>
              <a:t>компетентнісній</a:t>
            </a:r>
            <a:r>
              <a:rPr lang="uk-UA" dirty="0"/>
              <a:t> основі. </a:t>
            </a:r>
          </a:p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6. </a:t>
            </a:r>
            <a:r>
              <a:rPr lang="uk-UA" dirty="0"/>
              <a:t>Діти втрачають інтерес до навчання. Навіщо вчимо? Де можна застосувати ці знання та вміння? 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613429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3" r="4879"/>
          <a:stretch/>
        </p:blipFill>
        <p:spPr>
          <a:xfrm>
            <a:off x="5527281" y="2465191"/>
            <a:ext cx="3600400" cy="271219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456720"/>
            <a:ext cx="5616624" cy="1104636"/>
          </a:xfrm>
        </p:spPr>
        <p:txBody>
          <a:bodyPr/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охи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історії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628650" y="1521354"/>
            <a:ext cx="6175598" cy="3626115"/>
          </a:xfrm>
        </p:spPr>
        <p:txBody>
          <a:bodyPr/>
          <a:lstStyle/>
          <a:p>
            <a:pPr lvl="0"/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1959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: </a:t>
            </a:r>
            <a:r>
              <a:rPr lang="uk-UA" dirty="0"/>
              <a:t>Вперше </a:t>
            </a:r>
            <a:r>
              <a:rPr lang="uk-UA" dirty="0" err="1"/>
              <a:t>компетентнісний</a:t>
            </a:r>
            <a:r>
              <a:rPr lang="uk-UA" dirty="0"/>
              <a:t> підхід </a:t>
            </a:r>
            <a:r>
              <a:rPr lang="uk-UA" dirty="0" smtClean="0"/>
              <a:t>з'явився </a:t>
            </a:r>
            <a:r>
              <a:rPr lang="uk-UA" dirty="0"/>
              <a:t>в бізнесі</a:t>
            </a:r>
            <a:r>
              <a:rPr lang="ru-RU" dirty="0"/>
              <a:t>.</a:t>
            </a:r>
            <a:endParaRPr lang="uk-UA" dirty="0"/>
          </a:p>
          <a:p>
            <a:pPr lvl="0"/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Р.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</a:rPr>
              <a:t>Уайт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: </a:t>
            </a:r>
            <a:r>
              <a:rPr lang="uk-UA" dirty="0"/>
              <a:t>успішні і ефективні виконавці – не стільки знання, як ефективна саморегуляція, самосвідомість і розвинуті соціальні навики.  </a:t>
            </a:r>
          </a:p>
          <a:p>
            <a:pPr lvl="0"/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1991: </a:t>
            </a:r>
            <a:r>
              <a:rPr lang="uk-UA" dirty="0"/>
              <a:t>Генеральна конфедерація ЮНЕСКО створила комісію для розробки питань освіти і навчання у XXI столітті.  У підсумковій доповіді </a:t>
            </a:r>
            <a:r>
              <a:rPr lang="ru-RU" dirty="0"/>
              <a:t>“</a:t>
            </a:r>
            <a:r>
              <a:rPr lang="uk-UA" dirty="0"/>
              <a:t>Освіта</a:t>
            </a:r>
            <a:r>
              <a:rPr lang="ru-RU" dirty="0"/>
              <a:t>: </a:t>
            </a:r>
            <a:r>
              <a:rPr lang="uk-UA" dirty="0"/>
              <a:t>прихований скарб</a:t>
            </a:r>
            <a:r>
              <a:rPr lang="ru-RU" dirty="0"/>
              <a:t>”</a:t>
            </a:r>
            <a:r>
              <a:rPr lang="uk-UA" dirty="0"/>
              <a:t> сформульовані 4 базові принципи освіти XXI століття</a:t>
            </a:r>
            <a:r>
              <a:rPr lang="uk-UA" dirty="0" smtClean="0"/>
              <a:t>.</a:t>
            </a:r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grpSp>
        <p:nvGrpSpPr>
          <p:cNvPr id="8" name="Групувати 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9" name="Групувати 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0" name="Рівнобедрений трикутник 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1" name="Прямокутний трикутник 1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407027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отири базові принципи освіти XXI століття:</a:t>
            </a:r>
          </a:p>
        </p:txBody>
      </p:sp>
      <p:graphicFrame>
        <p:nvGraphicFramePr>
          <p:cNvPr id="6" name="Місце для вмісту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5064032"/>
              </p:ext>
            </p:extLst>
          </p:nvPr>
        </p:nvGraphicFramePr>
        <p:xfrm>
          <a:off x="827584" y="1273324"/>
          <a:ext cx="7551082" cy="3824140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31274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23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77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Принцип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Зміст</a:t>
                      </a:r>
                      <a:r>
                        <a:rPr lang="uk-UA" sz="1300" dirty="0">
                          <a:effectLst/>
                        </a:rPr>
                        <a:t> </a:t>
                      </a:r>
                      <a:r>
                        <a:rPr lang="uk-UA" sz="2400" dirty="0">
                          <a:effectLst/>
                        </a:rPr>
                        <a:t>принципу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2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Співіснувати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Сумісно здійснювати проекти, розумно і мирно розв’язувати неминучі конфлікти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07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Вчитися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 smtClean="0">
                          <a:effectLst/>
                        </a:rPr>
                        <a:t>Поєднувати </a:t>
                      </a:r>
                      <a:r>
                        <a:rPr lang="uk-UA" sz="1300" dirty="0" err="1" smtClean="0">
                          <a:effectLst/>
                        </a:rPr>
                        <a:t>обширні</a:t>
                      </a:r>
                      <a:r>
                        <a:rPr lang="uk-UA" sz="1300" dirty="0" smtClean="0">
                          <a:effectLst/>
                        </a:rPr>
                        <a:t> загальнокультурні знання </a:t>
                      </a:r>
                      <a:r>
                        <a:rPr lang="uk-UA" sz="1300" dirty="0">
                          <a:effectLst/>
                        </a:rPr>
                        <a:t>та </a:t>
                      </a:r>
                      <a:r>
                        <a:rPr lang="uk-UA" sz="1300" dirty="0" smtClean="0">
                          <a:effectLst/>
                        </a:rPr>
                        <a:t>глибоке </a:t>
                      </a:r>
                      <a:r>
                        <a:rPr lang="uk-UA" sz="1300" dirty="0">
                          <a:effectLst/>
                        </a:rPr>
                        <a:t>осягнення обмеженої кількості дисциплін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73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Працювати 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Удосконалюватися у своїй професії, тобто набувати </a:t>
                      </a:r>
                      <a:r>
                        <a:rPr lang="uk-UA" sz="1300" dirty="0" err="1">
                          <a:effectLst/>
                        </a:rPr>
                        <a:t>компетентностей</a:t>
                      </a:r>
                      <a:r>
                        <a:rPr lang="uk-UA" sz="1300" dirty="0">
                          <a:effectLst/>
                        </a:rPr>
                        <a:t>, </a:t>
                      </a:r>
                      <a:r>
                        <a:rPr lang="uk-UA" sz="1300" dirty="0" smtClean="0">
                          <a:effectLst/>
                        </a:rPr>
                        <a:t>щоб давати </a:t>
                      </a:r>
                      <a:r>
                        <a:rPr lang="uk-UA" sz="1300" dirty="0">
                          <a:effectLst/>
                        </a:rPr>
                        <a:t>собі раду у різних ситуаціях, у тому числі таких, які не можна передбачити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973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2400" dirty="0">
                          <a:effectLst/>
                        </a:rPr>
                        <a:t>Жити</a:t>
                      </a:r>
                      <a:endParaRPr lang="uk-UA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300" dirty="0">
                          <a:effectLst/>
                        </a:rPr>
                        <a:t>Здатність до оцінювання і посилення особистої відповідальності у колективних проектах, адже  XXI століття вимагає від усіх більшої самостійності</a:t>
                      </a:r>
                      <a:endParaRPr lang="uk-U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598" marR="45598" marT="45598" marB="4559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grpSp>
        <p:nvGrpSpPr>
          <p:cNvPr id="7" name="Групувати 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8" name="Групувати 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" name="Рівнобедрений трикутник 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0" name="Прямокутний трикутник 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79988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80"/>
          <a:stretch/>
        </p:blipFill>
        <p:spPr>
          <a:xfrm>
            <a:off x="767935" y="988238"/>
            <a:ext cx="7418598" cy="458569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ий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ід: суть і особливості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b="1" dirty="0">
                <a:solidFill>
                  <a:schemeClr val="accent6">
                    <a:lumMod val="75000"/>
                  </a:schemeClr>
                </a:solidFill>
              </a:rPr>
              <a:t>Компетентність</a:t>
            </a:r>
            <a:r>
              <a:rPr lang="uk-UA" dirty="0"/>
              <a:t> – це не просто новий термін, який позначає старі поняття.  Це нова категорія</a:t>
            </a:r>
            <a:r>
              <a:rPr lang="uk-UA" dirty="0" smtClean="0"/>
              <a:t>.</a:t>
            </a:r>
            <a:endParaRPr lang="uk-UA" dirty="0"/>
          </a:p>
        </p:txBody>
      </p:sp>
      <p:grpSp>
        <p:nvGrpSpPr>
          <p:cNvPr id="9" name="Групувати 8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0" name="Групувати 9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3" name="Прямокутний трикутник 12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4" name="Прямокутний трикутник 13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11" name="Рівнобедрений трикутник 10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2" name="Прямокутний трикутник 11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16644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93204"/>
            <a:ext cx="7886700" cy="1104636"/>
          </a:xfrm>
        </p:spPr>
        <p:txBody>
          <a:bodyPr>
            <a:normAutofit/>
          </a:bodyPr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ідмінність традиційного і </a:t>
            </a:r>
            <a:r>
              <a:rPr lang="uk-UA" b="1" dirty="0" err="1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ного</a:t>
            </a:r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ідходів у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вчанні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Місце для вмісту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9971946"/>
              </p:ext>
            </p:extLst>
          </p:nvPr>
        </p:nvGraphicFramePr>
        <p:xfrm>
          <a:off x="1187623" y="1214400"/>
          <a:ext cx="7056785" cy="4163379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3256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9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77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Традиційний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 err="1">
                          <a:effectLst/>
                        </a:rPr>
                        <a:t>Компетентнісний</a:t>
                      </a:r>
                      <a:r>
                        <a:rPr lang="uk-UA" sz="1800" dirty="0">
                          <a:effectLst/>
                        </a:rPr>
                        <a:t>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7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Головна ідея: знання – це шлях до особистого успіху.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Головна ідея: шлях до особистого успіху – досвід самостійного вирішення проблем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55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Вирішення проблем  розглядається як спосіб закріплення знань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Вирішення проблем  – сенс освітньої діяльності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8330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dirty="0">
                          <a:effectLst/>
                        </a:rPr>
                        <a:t>Ознака високого рівня освіченості – здатність відтворювати великий об’єм складного за змістом матеріалу.  </a:t>
                      </a:r>
                      <a:endParaRPr lang="uk-U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uk-UA" sz="1800" b="0" dirty="0">
                          <a:effectLst/>
                        </a:rPr>
                        <a:t>Що ширше сфера діяльності людини, що вище ступінь невизначеності ситуацій, в яких вона здатна діяти самостійно, </a:t>
                      </a:r>
                      <a:r>
                        <a:rPr lang="uk-UA" sz="1800" b="0" dirty="0" smtClean="0">
                          <a:effectLst/>
                        </a:rPr>
                        <a:t>то </a:t>
                      </a:r>
                      <a:r>
                        <a:rPr lang="uk-UA" sz="1800" b="0" dirty="0">
                          <a:effectLst/>
                        </a:rPr>
                        <a:t>вищий рівень її освіченості. </a:t>
                      </a:r>
                      <a:endParaRPr lang="uk-UA" sz="1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958" marR="43958" marT="43958" marB="4395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7" name="Групувати 6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8" name="Групувати 7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2" name="Прямокутний трикутник 11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9" name="Рівнобедрений трикутник 8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0" name="Прямокутний трикутник 9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222969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ість – це результат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віти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uk-UA" dirty="0"/>
              <a:t>З позицій </a:t>
            </a:r>
            <a:r>
              <a:rPr lang="uk-UA" dirty="0" err="1"/>
              <a:t>компетентнісного</a:t>
            </a:r>
            <a:r>
              <a:rPr lang="uk-UA" dirty="0"/>
              <a:t> підходу </a:t>
            </a:r>
            <a:r>
              <a:rPr lang="uk-UA" b="1" dirty="0"/>
              <a:t>безпосереднім результатом освітньої діяльності</a:t>
            </a:r>
            <a:r>
              <a:rPr lang="uk-UA" dirty="0"/>
              <a:t> є формування ключових </a:t>
            </a:r>
            <a:r>
              <a:rPr lang="uk-UA" dirty="0" err="1"/>
              <a:t>компетентностей</a:t>
            </a:r>
            <a:r>
              <a:rPr lang="uk-UA" dirty="0"/>
              <a:t>. </a:t>
            </a:r>
          </a:p>
          <a:p>
            <a:pPr lvl="0"/>
            <a:r>
              <a:rPr lang="uk-UA" dirty="0"/>
              <a:t>Ключові компетентності стосовно шкільної освіти – це здатність учнів самостійно діяти у невизначеній ситуації при вирішення актуальних для них проблем. </a:t>
            </a:r>
          </a:p>
          <a:p>
            <a:pPr lvl="0"/>
            <a:r>
              <a:rPr lang="uk-UA" dirty="0"/>
              <a:t>Компетентність – це вміння застосовувати знання та навики у незнайомій життєвій ситуації.  </a:t>
            </a:r>
          </a:p>
          <a:p>
            <a:pPr lvl="0"/>
            <a:r>
              <a:rPr lang="uk-UA" dirty="0"/>
              <a:t>Компетентність – це вміння вирішувати нові життєві проблеми. </a:t>
            </a:r>
          </a:p>
          <a:p>
            <a:pPr lvl="0"/>
            <a:r>
              <a:rPr lang="uk-UA" dirty="0"/>
              <a:t>Компетентність – це вміння адаптувати у нинішньому світі, який стрімко змінюється.  </a:t>
            </a:r>
          </a:p>
        </p:txBody>
      </p:sp>
      <p:grpSp>
        <p:nvGrpSpPr>
          <p:cNvPr id="6" name="Групувати 5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7" name="Групувати 6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10" name="Прямокутний трикутник 9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11" name="Прямокутний трикутник 10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8" name="Рівнобедрений трикутник 7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кутний трикутник 8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95461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07304"/>
            <a:ext cx="9144000" cy="530516"/>
          </a:xfrm>
          <a:prstGeom prst="rect">
            <a:avLst/>
          </a:prstGeom>
        </p:spPr>
      </p:pic>
      <p:sp>
        <p:nvSpPr>
          <p:cNvPr id="15" name="Прямокутник 14"/>
          <p:cNvSpPr/>
          <p:nvPr/>
        </p:nvSpPr>
        <p:spPr>
          <a:xfrm>
            <a:off x="1979711" y="3977017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4" name="Прямокутник 13"/>
          <p:cNvSpPr/>
          <p:nvPr/>
        </p:nvSpPr>
        <p:spPr>
          <a:xfrm>
            <a:off x="1979711" y="2890664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Прямокутник 11"/>
          <p:cNvSpPr/>
          <p:nvPr/>
        </p:nvSpPr>
        <p:spPr>
          <a:xfrm>
            <a:off x="1979712" y="1794953"/>
            <a:ext cx="5301529" cy="7025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uk-UA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асифікація та зміст </a:t>
            </a:r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ючових </a:t>
            </a:r>
            <a:r>
              <a:rPr lang="uk-UA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тностей</a:t>
            </a:r>
            <a:endParaRPr lang="uk-UA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Місце для вмісту 4"/>
          <p:cNvSpPr>
            <a:spLocks noGrp="1"/>
          </p:cNvSpPr>
          <p:nvPr>
            <p:ph idx="1"/>
          </p:nvPr>
        </p:nvSpPr>
        <p:spPr>
          <a:xfrm>
            <a:off x="628650" y="1319617"/>
            <a:ext cx="7886700" cy="3626115"/>
          </a:xfrm>
        </p:spPr>
        <p:txBody>
          <a:bodyPr/>
          <a:lstStyle/>
          <a:p>
            <a:pPr marL="0" indent="0" algn="ctr">
              <a:buNone/>
            </a:pPr>
            <a:r>
              <a:rPr lang="uk-UA" b="1" i="1" dirty="0" smtClean="0"/>
              <a:t>Ієрархія </a:t>
            </a:r>
            <a:r>
              <a:rPr lang="uk-UA" b="1" i="1" dirty="0"/>
              <a:t>освітніх </a:t>
            </a:r>
            <a:r>
              <a:rPr lang="uk-UA" b="1" i="1" dirty="0" err="1" smtClean="0"/>
              <a:t>компетентностей</a:t>
            </a:r>
            <a:endParaRPr lang="uk-UA" dirty="0"/>
          </a:p>
        </p:txBody>
      </p:sp>
      <p:sp>
        <p:nvSpPr>
          <p:cNvPr id="6" name="TextBox 5"/>
          <p:cNvSpPr txBox="1"/>
          <p:nvPr/>
        </p:nvSpPr>
        <p:spPr>
          <a:xfrm>
            <a:off x="1826755" y="1849388"/>
            <a:ext cx="54904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К</a:t>
            </a:r>
            <a:r>
              <a:rPr lang="uk-UA" dirty="0" err="1"/>
              <a:t>люч</a:t>
            </a:r>
            <a:r>
              <a:rPr lang="ru-RU" dirty="0" err="1"/>
              <a:t>ов</a:t>
            </a:r>
            <a:r>
              <a:rPr lang="uk-UA" dirty="0"/>
              <a:t>і</a:t>
            </a:r>
            <a:r>
              <a:rPr lang="ru-RU" dirty="0"/>
              <a:t> </a:t>
            </a:r>
            <a:r>
              <a:rPr lang="ru-RU" dirty="0" smtClean="0"/>
              <a:t>(</a:t>
            </a:r>
            <a:r>
              <a:rPr lang="uk-UA" dirty="0" smtClean="0"/>
              <a:t>базові</a:t>
            </a:r>
            <a:r>
              <a:rPr lang="ru-RU" dirty="0" smtClean="0"/>
              <a:t>)</a:t>
            </a:r>
          </a:p>
          <a:p>
            <a:pPr algn="ctr"/>
            <a:r>
              <a:rPr lang="uk-UA" dirty="0" smtClean="0"/>
              <a:t>реалізовані</a:t>
            </a:r>
            <a:r>
              <a:rPr lang="ru-RU" dirty="0" smtClean="0"/>
              <a:t> </a:t>
            </a:r>
            <a:r>
              <a:rPr lang="ru-RU" dirty="0"/>
              <a:t>на </a:t>
            </a:r>
            <a:r>
              <a:rPr lang="uk-UA" dirty="0" smtClean="0"/>
              <a:t>загальному</a:t>
            </a:r>
            <a:r>
              <a:rPr lang="ru-RU" dirty="0" smtClean="0"/>
              <a:t> </a:t>
            </a:r>
            <a:r>
              <a:rPr lang="ru-RU" dirty="0"/>
              <a:t>для </a:t>
            </a:r>
            <a:r>
              <a:rPr lang="uk-UA" dirty="0" smtClean="0"/>
              <a:t>всіх</a:t>
            </a:r>
            <a:r>
              <a:rPr lang="ru-RU" dirty="0" smtClean="0"/>
              <a:t> </a:t>
            </a:r>
            <a:r>
              <a:rPr lang="uk-UA" dirty="0" smtClean="0"/>
              <a:t>предметів</a:t>
            </a:r>
            <a:r>
              <a:rPr lang="ru-RU" dirty="0" smtClean="0"/>
              <a:t> </a:t>
            </a:r>
            <a:r>
              <a:rPr lang="uk-UA" dirty="0" smtClean="0"/>
              <a:t>змісті</a:t>
            </a:r>
          </a:p>
          <a:p>
            <a:endParaRPr lang="uk-UA" dirty="0"/>
          </a:p>
        </p:txBody>
      </p:sp>
      <p:sp>
        <p:nvSpPr>
          <p:cNvPr id="10" name="TextBox 9"/>
          <p:cNvSpPr txBox="1"/>
          <p:nvPr/>
        </p:nvSpPr>
        <p:spPr>
          <a:xfrm>
            <a:off x="2015716" y="2905394"/>
            <a:ext cx="5112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err="1"/>
              <a:t>Загальнопредметні</a:t>
            </a:r>
            <a:r>
              <a:rPr lang="uk-UA" dirty="0"/>
              <a:t> (міжпредметні</a:t>
            </a:r>
            <a:r>
              <a:rPr lang="uk-UA" dirty="0" smtClean="0"/>
              <a:t>)</a:t>
            </a:r>
          </a:p>
          <a:p>
            <a:pPr algn="ctr"/>
            <a:r>
              <a:rPr lang="uk-UA" dirty="0" smtClean="0"/>
              <a:t>реалізовані</a:t>
            </a:r>
            <a:r>
              <a:rPr lang="ru-RU" dirty="0" smtClean="0"/>
              <a:t> </a:t>
            </a:r>
            <a:r>
              <a:rPr lang="ru-RU" dirty="0"/>
              <a:t>на </a:t>
            </a:r>
            <a:r>
              <a:rPr lang="uk-UA" dirty="0" smtClean="0"/>
              <a:t>змісті</a:t>
            </a:r>
            <a:r>
              <a:rPr lang="ru-RU" dirty="0" smtClean="0"/>
              <a:t> </a:t>
            </a:r>
            <a:r>
              <a:rPr lang="uk-UA" dirty="0" smtClean="0"/>
              <a:t>освітньої</a:t>
            </a:r>
            <a:r>
              <a:rPr lang="ru-RU" dirty="0" smtClean="0"/>
              <a:t> </a:t>
            </a:r>
            <a:r>
              <a:rPr lang="uk-UA" dirty="0" smtClean="0"/>
              <a:t>галузі</a:t>
            </a:r>
            <a:endParaRPr lang="uk-UA" dirty="0"/>
          </a:p>
        </p:txBody>
      </p:sp>
      <p:sp>
        <p:nvSpPr>
          <p:cNvPr id="11" name="TextBox 10"/>
          <p:cNvSpPr txBox="1"/>
          <p:nvPr/>
        </p:nvSpPr>
        <p:spPr>
          <a:xfrm>
            <a:off x="1826755" y="3996606"/>
            <a:ext cx="5198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dirty="0" smtClean="0"/>
              <a:t>Предметні</a:t>
            </a:r>
          </a:p>
          <a:p>
            <a:pPr algn="ctr"/>
            <a:r>
              <a:rPr lang="uk-UA" dirty="0" smtClean="0"/>
              <a:t>сформовані в рамках окремих предметів</a:t>
            </a:r>
            <a:endParaRPr lang="uk-UA" dirty="0"/>
          </a:p>
        </p:txBody>
      </p:sp>
      <p:sp>
        <p:nvSpPr>
          <p:cNvPr id="13" name="Стрілка вправо 12"/>
          <p:cNvSpPr/>
          <p:nvPr/>
        </p:nvSpPr>
        <p:spPr>
          <a:xfrm rot="5400000">
            <a:off x="4375398" y="2346081"/>
            <a:ext cx="393203" cy="695966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Стрілка вправо 16"/>
          <p:cNvSpPr/>
          <p:nvPr/>
        </p:nvSpPr>
        <p:spPr>
          <a:xfrm rot="5400000">
            <a:off x="4375398" y="3439839"/>
            <a:ext cx="393203" cy="695966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8" name="Групувати 17"/>
          <p:cNvGrpSpPr/>
          <p:nvPr/>
        </p:nvGrpSpPr>
        <p:grpSpPr>
          <a:xfrm>
            <a:off x="0" y="0"/>
            <a:ext cx="9148972" cy="3092631"/>
            <a:chOff x="0" y="0"/>
            <a:chExt cx="9148972" cy="3092631"/>
          </a:xfrm>
        </p:grpSpPr>
        <p:grpSp>
          <p:nvGrpSpPr>
            <p:cNvPr id="19" name="Групувати 18"/>
            <p:cNvGrpSpPr/>
            <p:nvPr/>
          </p:nvGrpSpPr>
          <p:grpSpPr>
            <a:xfrm>
              <a:off x="0" y="0"/>
              <a:ext cx="1259632" cy="3001516"/>
              <a:chOff x="0" y="0"/>
              <a:chExt cx="1259632" cy="3001516"/>
            </a:xfrm>
          </p:grpSpPr>
          <p:sp>
            <p:nvSpPr>
              <p:cNvPr id="22" name="Прямокутний трикутник 21"/>
              <p:cNvSpPr/>
              <p:nvPr/>
            </p:nvSpPr>
            <p:spPr>
              <a:xfrm rot="5400000">
                <a:off x="-1194978" y="1194978"/>
                <a:ext cx="3001516" cy="611560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3" name="Прямокутний трикутник 22"/>
              <p:cNvSpPr/>
              <p:nvPr/>
            </p:nvSpPr>
            <p:spPr>
              <a:xfrm rot="5400000">
                <a:off x="137170" y="-137170"/>
                <a:ext cx="985292" cy="1259632"/>
              </a:xfrm>
              <a:prstGeom prst="rtTriangle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sp>
          <p:nvSpPr>
            <p:cNvPr id="20" name="Рівнобедрений трикутник 19"/>
            <p:cNvSpPr/>
            <p:nvPr/>
          </p:nvSpPr>
          <p:spPr>
            <a:xfrm rot="10800000">
              <a:off x="1115616" y="0"/>
              <a:ext cx="8033356" cy="223752"/>
            </a:xfrm>
            <a:prstGeom prst="triangle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1" name="Прямокутний трикутник 20"/>
            <p:cNvSpPr/>
            <p:nvPr/>
          </p:nvSpPr>
          <p:spPr>
            <a:xfrm rot="16200000" flipH="1">
              <a:off x="7471925" y="1420557"/>
              <a:ext cx="3092631" cy="251518"/>
            </a:xfrm>
            <a:prstGeom prst="rtTriangle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32396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703</TotalTime>
  <Words>1327</Words>
  <Application>Microsoft Office PowerPoint</Application>
  <PresentationFormat>Экран (16:10)</PresentationFormat>
  <Paragraphs>237</Paragraphs>
  <Slides>2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7" baseType="lpstr">
      <vt:lpstr>Adobe Gothic Std B</vt:lpstr>
      <vt:lpstr>Arial</vt:lpstr>
      <vt:lpstr>Calibri</vt:lpstr>
      <vt:lpstr>Calibri Light</vt:lpstr>
      <vt:lpstr>Symbol</vt:lpstr>
      <vt:lpstr>Tahoma</vt:lpstr>
      <vt:lpstr>Times New Roman</vt:lpstr>
      <vt:lpstr>Wingdings</vt:lpstr>
      <vt:lpstr>Тема Office</vt:lpstr>
      <vt:lpstr>think-cell Slide</vt:lpstr>
      <vt:lpstr>Презентация PowerPoint</vt:lpstr>
      <vt:lpstr>Актуальність компетентнісного підходу  в освіті</vt:lpstr>
      <vt:lpstr>Чому час говорити про компетентнісний підхід в освіті?</vt:lpstr>
      <vt:lpstr>Трохи історії</vt:lpstr>
      <vt:lpstr>Чотири базові принципи освіти XXI століття:</vt:lpstr>
      <vt:lpstr>Компетентнісний підхід: суть і особливості</vt:lpstr>
      <vt:lpstr>Відмінність традиційного і компетентнісного підходів у навчанні</vt:lpstr>
      <vt:lpstr>Компетентність – це результат освіти</vt:lpstr>
      <vt:lpstr>Класифікація та зміст ключових компетентностей</vt:lpstr>
      <vt:lpstr>Класифікація та зміст ключових компетентностей</vt:lpstr>
      <vt:lpstr>Зміст ключових компетентностей</vt:lpstr>
      <vt:lpstr>КЛЮЧОВІ КОМПЕТЕНТНОСТІ</vt:lpstr>
      <vt:lpstr>Аспекти ключових компетентностей</vt:lpstr>
      <vt:lpstr>ІНФОРМАЦІЙНА КОМПЕТЕНТНІСТЬ:  планування інформаційного пошуку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ЯКУЮ ЗА УВАГУ!</vt:lpstr>
    </vt:vector>
  </TitlesOfParts>
  <Company>Compu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tenkoinna00@gmail.com</cp:lastModifiedBy>
  <cp:revision>192</cp:revision>
  <dcterms:created xsi:type="dcterms:W3CDTF">2014-02-11T14:18:40Z</dcterms:created>
  <dcterms:modified xsi:type="dcterms:W3CDTF">2018-11-29T16:23:21Z</dcterms:modified>
</cp:coreProperties>
</file>